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media/image35.jpg" ContentType="image/png"/>
  <Override PartName="/ppt/comments/comment3.xml" ContentType="application/vnd.openxmlformats-officedocument.presentationml.comment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31"/>
  </p:notesMasterIdLst>
  <p:sldIdLst>
    <p:sldId id="258" r:id="rId3"/>
    <p:sldId id="280" r:id="rId4"/>
    <p:sldId id="305" r:id="rId5"/>
    <p:sldId id="281" r:id="rId6"/>
    <p:sldId id="282" r:id="rId7"/>
    <p:sldId id="283" r:id="rId8"/>
    <p:sldId id="284" r:id="rId9"/>
    <p:sldId id="285" r:id="rId10"/>
    <p:sldId id="286" r:id="rId11"/>
    <p:sldId id="287" r:id="rId12"/>
    <p:sldId id="288" r:id="rId13"/>
    <p:sldId id="289" r:id="rId14"/>
    <p:sldId id="290" r:id="rId15"/>
    <p:sldId id="291" r:id="rId16"/>
    <p:sldId id="292" r:id="rId17"/>
    <p:sldId id="293" r:id="rId18"/>
    <p:sldId id="294" r:id="rId19"/>
    <p:sldId id="295" r:id="rId20"/>
    <p:sldId id="296" r:id="rId21"/>
    <p:sldId id="297" r:id="rId22"/>
    <p:sldId id="298" r:id="rId23"/>
    <p:sldId id="299" r:id="rId24"/>
    <p:sldId id="300" r:id="rId25"/>
    <p:sldId id="301" r:id="rId26"/>
    <p:sldId id="302" r:id="rId27"/>
    <p:sldId id="303" r:id="rId28"/>
    <p:sldId id="304" r:id="rId29"/>
    <p:sldId id="275" r:id="rId30"/>
  </p:sldIdLst>
  <p:sldSz cx="9144000" cy="6858000" type="screen4x3"/>
  <p:notesSz cx="6858000" cy="9144000"/>
  <p:custDataLst>
    <p:tags r:id="rId3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7209" autoAdjust="0"/>
  </p:normalViewPr>
  <p:slideViewPr>
    <p:cSldViewPr snapToGrid="0">
      <p:cViewPr>
        <p:scale>
          <a:sx n="100" d="100"/>
          <a:sy n="100" d="100"/>
        </p:scale>
        <p:origin x="187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3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10-13T10:26:01.658" idx="1">
    <p:pos x="10" y="10"/>
    <p:text>粒子流算法：将径迹测量得到的动量和量能器测量得到的能量匹配，确定jet径迹，进而确定粒子能量和类型</p:text>
    <p:extLst>
      <p:ext uri="{C676402C-5697-4E1C-873F-D02D1690AC5C}">
        <p15:threadingInfo xmlns:p15="http://schemas.microsoft.com/office/powerpoint/2012/main" timeZoneBias="-480"/>
      </p:ext>
    </p:extLst>
  </p:cm>
  <p:cm authorId="1" dt="2017-10-13T10:28:05.347" idx="2">
    <p:pos x="146" y="146"/>
    <p:text>半数字读出：粒子流算法要求量能器单元足够小，能够分辨邻近事例，读出方案分为模拟读出和数字读出方案，模拟读出，能量分辨率高，电子学开销极大；有模拟结果表明，即使使用1-bit读出，即一个比较器，也能够实现所需要的能量分辨率</p:text>
    <p:extLst>
      <p:ext uri="{C676402C-5697-4E1C-873F-D02D1690AC5C}">
        <p15:threadingInfo xmlns:p15="http://schemas.microsoft.com/office/powerpoint/2012/main" timeZoneBias="-480"/>
      </p:ext>
    </p:extLst>
  </p:cm>
  <p:cm authorId="1" dt="2017-10-13T10:31:40.032" idx="3">
    <p:pos x="282" y="282"/>
    <p:text>为了提高能量分辨率，使用多个阈读出，即半数字读出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10-13T10:58:51.345" idx="4">
    <p:pos x="633" y="1047"/>
    <p:text>用Tektronix大的信号源再刻度一次</p:text>
    <p:extLst>
      <p:ext uri="{C676402C-5697-4E1C-873F-D02D1690AC5C}">
        <p15:threadingInfo xmlns:p15="http://schemas.microsoft.com/office/powerpoint/2012/main" timeZoneBias="-480"/>
      </p:ext>
    </p:extLst>
  </p:cm>
  <p:cm authorId="1" dt="2017-10-13T10:59:44.704" idx="6">
    <p:pos x="633" y="1339"/>
    <p:text>64通道的刻度曲线都给出来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10-13T11:44:59.734" idx="7">
    <p:pos x="10" y="10"/>
    <p:text>这里X射线测量效率是否需要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各位评委老师和同学，大家下午好，我的名字叫王宇，来自近代物理系，我的导师是刘树彬老师和封常青老师，很高兴能够来参加今天的华为奖学金答辩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24E6A574-ED3C-4E6C-8E01-46F89617F34A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7540C38-187E-4C45-9C9C-6A8494B407EB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BD7947B-8DB5-4938-B1A2-A01AA43BF6D9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5370BCF-C512-49FA-8852-342713E18FEE}" type="datetimeFigureOut">
              <a:rPr lang="zh-CN" altLang="en-US" smtClean="0"/>
              <a:pPr/>
              <a:t>2017/11/3</a:t>
            </a:fld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413251" y="6408740"/>
            <a:ext cx="3159125" cy="365125"/>
          </a:xfr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86F07-C6EA-43CC-B90F-EA9FF95DE00D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45BA4-8FE1-41CA-91D9-4B9667162D8C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CA0866-2D91-4626-8492-0F1CCCA111B0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37B5B-613B-4BAC-A0EC-B61DD1EE7000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A98ADE-7322-4C6B-9D14-350AAAFD8ABB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54CA9-8634-4741-B591-A1DFC4E44FFE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CC3B9-F49F-48E0-9D20-D01E56DC5097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81E5C-2F1C-4FA8-B7F2-BC77AF604E5E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65A80-8B4D-4D98-8072-2B42F21EAD12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BCBBB-C71D-43CE-94C1-B2DA7758D66E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36D5F8A-9084-43F2-AEAB-5E473832B589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E9E938-3FA1-4C67-9F78-9BB4EB48BD01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15E28FD-567E-41F7-BB89-7CBF2BBCB09D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DEF4D451-7086-4062-9BE8-5C908AFEFA86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702AB91-895B-4191-BF77-B826A7816715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8C629A85-564E-4F78-AB70-1C75B32FD2D3}" type="datetime1">
              <a:rPr lang="zh-CN" altLang="en-US" smtClean="0"/>
              <a:t>2017/11/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20593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7263" y="6204404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33948A-0B01-4D26-80E2-C541C3CC2D30}" type="datetime1">
              <a:rPr lang="zh-CN" altLang="en-US" smtClean="0"/>
              <a:t>2017/11/3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emf"/><Relationship Id="rId4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7" Type="http://schemas.openxmlformats.org/officeDocument/2006/relationships/image" Target="../media/image39.jpe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3.xml"/><Relationship Id="rId5" Type="http://schemas.openxmlformats.org/officeDocument/2006/relationships/comments" Target="../comments/comment3.xml"/><Relationship Id="rId4" Type="http://schemas.openxmlformats.org/officeDocument/2006/relationships/image" Target="../media/image42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/>
          <p:cNvSpPr/>
          <p:nvPr/>
        </p:nvSpPr>
        <p:spPr>
          <a:xfrm>
            <a:off x="0" y="4081463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656514" y="2546381"/>
            <a:ext cx="5830972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器</a:t>
            </a:r>
            <a:r>
              <a:rPr lang="en-US" altLang="zh-CN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711228" y="5150427"/>
            <a:ext cx="590045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宇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树彬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洪道金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建北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封常青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周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2000" dirty="0" err="1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yi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en-US" altLang="zh-CN" sz="2000" dirty="0" smtClean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核探测与核电子学国家实验室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USTC)</a:t>
            </a:r>
            <a:endParaRPr lang="en-US" altLang="zh-CN" sz="2000" dirty="0" smtClean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7.11.12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2" name="矩形 10"/>
          <p:cNvSpPr>
            <a:spLocks noChangeArrowheads="1"/>
          </p:cNvSpPr>
          <p:nvPr/>
        </p:nvSpPr>
        <p:spPr bwMode="auto">
          <a:xfrm>
            <a:off x="3143250" y="4108450"/>
            <a:ext cx="30364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国科学技术大学   快电子学实验室</a:t>
            </a:r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1541">
        <p:cut/>
      </p:transition>
    </mc:Choice>
    <mc:Fallback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/>
              <a:t>粒子</a:t>
            </a:r>
            <a:r>
              <a:rPr lang="zh-CN" altLang="en-US" dirty="0" smtClean="0"/>
              <a:t>流算法和半数字化读出</a:t>
            </a:r>
            <a:endParaRPr lang="en-US" altLang="zh-CN" dirty="0" smtClean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1951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半数字读出芯片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017" y="2127527"/>
            <a:ext cx="5869116" cy="4089126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4660339" y="1683631"/>
            <a:ext cx="12357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模拟部分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48974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MICRORO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关键参数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通道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读出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0-bitDA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设置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0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2499" y="2037117"/>
            <a:ext cx="1773518" cy="175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数字部分</a:t>
            </a:r>
            <a:endParaRPr lang="en-US" altLang="zh-CN" dirty="0"/>
          </a:p>
          <a:p>
            <a:pPr lvl="1"/>
            <a:r>
              <a:rPr lang="en-US" altLang="zh-CN" dirty="0"/>
              <a:t>3</a:t>
            </a:r>
            <a:r>
              <a:rPr lang="zh-CN" altLang="en-US" dirty="0"/>
              <a:t>个比较器信息编码为</a:t>
            </a:r>
            <a:r>
              <a:rPr lang="en-US" altLang="zh-CN" dirty="0"/>
              <a:t>2bit</a:t>
            </a:r>
            <a:r>
              <a:rPr lang="zh-CN" altLang="en-US" dirty="0"/>
              <a:t>写入</a:t>
            </a:r>
            <a:r>
              <a:rPr lang="en-US" altLang="zh-CN" dirty="0"/>
              <a:t>RAM</a:t>
            </a:r>
          </a:p>
          <a:p>
            <a:pPr lvl="1"/>
            <a:r>
              <a:rPr lang="en-US" altLang="zh-CN" dirty="0"/>
              <a:t>64</a:t>
            </a:r>
            <a:r>
              <a:rPr lang="zh-CN" altLang="en-US" dirty="0"/>
              <a:t>通道有一个通道过阈就写一次</a:t>
            </a:r>
            <a:r>
              <a:rPr lang="en-US" altLang="zh-CN" dirty="0"/>
              <a:t>RAM</a:t>
            </a:r>
          </a:p>
          <a:p>
            <a:pPr lvl="1"/>
            <a:r>
              <a:rPr lang="zh-CN" altLang="en-US" dirty="0"/>
              <a:t>同时写入时间戳</a:t>
            </a:r>
            <a:endParaRPr lang="en-US" altLang="zh-CN" dirty="0"/>
          </a:p>
          <a:p>
            <a:pPr lvl="1"/>
            <a:r>
              <a:rPr lang="zh-CN" altLang="en-US" dirty="0"/>
              <a:t>串行读回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4283370" y="4372720"/>
            <a:ext cx="4860630" cy="2048695"/>
            <a:chOff x="4482844" y="1767885"/>
            <a:chExt cx="4860630" cy="2048695"/>
          </a:xfrm>
        </p:grpSpPr>
        <p:pic>
          <p:nvPicPr>
            <p:cNvPr id="5" name="图片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482844" y="1812776"/>
              <a:ext cx="4860630" cy="2003804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5715000" y="1767885"/>
              <a:ext cx="1460499" cy="369332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数字部分</a:t>
              </a:r>
              <a:endPara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559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218" y="2263822"/>
            <a:ext cx="7337281" cy="261121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926218" y="4875041"/>
                <a:ext cx="7993036" cy="13388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zh-CN" altLang="zh-CN" kern="100" dirty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阳极读出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阳极读出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共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900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个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m:rPr>
                            <m:sty m:val="p"/>
                          </m:rP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的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ad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测试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CB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上集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片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用菊花链的形式连接。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DIF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完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数据采集、配置、自动化测试。</a:t>
                </a:r>
                <a:endParaRPr lang="en-US" altLang="zh-CN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6218" y="4875041"/>
                <a:ext cx="7993036" cy="1338828"/>
              </a:xfrm>
              <a:prstGeom prst="rect">
                <a:avLst/>
              </a:prstGeom>
              <a:blipFill rotWithShape="0">
                <a:blip r:embed="rId3"/>
                <a:stretch>
                  <a:fillRect l="-534" b="-182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（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和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读出板放在一起的图片）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/>
              <a:t>粒子</a:t>
            </a:r>
            <a:r>
              <a:rPr lang="zh-CN" altLang="en-US" dirty="0" smtClean="0"/>
              <a:t>流算法和半数字化读出</a:t>
            </a:r>
            <a:endParaRPr lang="en-US" altLang="zh-CN" dirty="0" smtClean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3339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阈值电压线性测量</a:t>
            </a:r>
            <a:endParaRPr lang="en-US" altLang="zh-CN" dirty="0"/>
          </a:p>
          <a:p>
            <a:pPr lvl="1"/>
            <a:r>
              <a:rPr lang="en-US" altLang="zh-CN" dirty="0"/>
              <a:t>3</a:t>
            </a:r>
            <a:r>
              <a:rPr lang="zh-CN" altLang="en-US" dirty="0"/>
              <a:t>个比较器阈值分别由</a:t>
            </a:r>
            <a:r>
              <a:rPr lang="en-US" altLang="zh-CN" dirty="0"/>
              <a:t>10-bit DAC</a:t>
            </a:r>
            <a:r>
              <a:rPr lang="zh-CN" altLang="en-US" dirty="0"/>
              <a:t>设置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电子学测试</a:t>
            </a:r>
            <a:endParaRPr lang="zh-CN" altLang="en-US" dirty="0"/>
          </a:p>
        </p:txBody>
      </p:sp>
      <p:pic>
        <p:nvPicPr>
          <p:cNvPr id="4" name="图片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811" y="212744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表格 4"/>
          <p:cNvGraphicFramePr>
            <a:graphicFrameLocks noGrp="1"/>
          </p:cNvGraphicFramePr>
          <p:nvPr>
            <p:extLst/>
          </p:nvPr>
        </p:nvGraphicFramePr>
        <p:xfrm>
          <a:off x="1328501" y="4850772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effectLst/>
                        </a:rPr>
                        <a:t>V</a:t>
                      </a:r>
                      <a:r>
                        <a:rPr lang="zh-CN" sz="1600" kern="100" dirty="0"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.1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36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6" name="矩形 5"/>
          <p:cNvSpPr/>
          <p:nvPr/>
        </p:nvSpPr>
        <p:spPr>
          <a:xfrm>
            <a:off x="3521488" y="4545376"/>
            <a:ext cx="2146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的测试</a:t>
            </a:r>
            <a:r>
              <a:rPr lang="zh-CN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结果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954526" y="3821133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0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7061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芯片自刻度</a:t>
            </a:r>
            <a:endParaRPr lang="en-US" altLang="zh-CN" dirty="0" smtClean="0"/>
          </a:p>
          <a:p>
            <a:pPr lvl="1"/>
            <a:r>
              <a:rPr lang="zh-CN" altLang="en-US" dirty="0"/>
              <a:t>利用芯片比较器测量噪声</a:t>
            </a:r>
            <a:endParaRPr lang="en-US" altLang="zh-CN" dirty="0"/>
          </a:p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用信号发生器通过电容产生电荷</a:t>
            </a:r>
            <a:endParaRPr lang="en-US" altLang="zh-CN" dirty="0"/>
          </a:p>
          <a:p>
            <a:pPr lvl="2"/>
            <a:r>
              <a:rPr lang="zh-CN" altLang="en-US" dirty="0"/>
              <a:t>同时信号发生器产生一个的同频率的时钟信号</a:t>
            </a:r>
            <a:endParaRPr lang="en-US" altLang="zh-CN" dirty="0"/>
          </a:p>
          <a:p>
            <a:pPr lvl="2"/>
            <a:r>
              <a:rPr lang="zh-CN" altLang="en-US" dirty="0"/>
              <a:t>设定一个阈值</a:t>
            </a:r>
            <a:endParaRPr lang="en-US" altLang="zh-CN" dirty="0"/>
          </a:p>
          <a:p>
            <a:pPr lvl="2"/>
            <a:r>
              <a:rPr lang="en-US" altLang="zh-CN" dirty="0"/>
              <a:t>FPGA</a:t>
            </a:r>
            <a:r>
              <a:rPr lang="zh-CN" altLang="en-US" dirty="0"/>
              <a:t>同时计数比较器输出个数和时钟个数</a:t>
            </a:r>
            <a:endParaRPr lang="en-US" altLang="zh-CN" dirty="0"/>
          </a:p>
          <a:p>
            <a:pPr lvl="2"/>
            <a:r>
              <a:rPr lang="zh-CN" altLang="en-US" dirty="0"/>
              <a:t>比值即为该阈值对应的触发率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0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6392" y="1106023"/>
            <a:ext cx="4881961" cy="5172234"/>
          </a:xfrm>
        </p:spPr>
        <p:txBody>
          <a:bodyPr/>
          <a:lstStyle/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不断改变阈值，测量触发率</a:t>
            </a:r>
            <a:endParaRPr lang="en-US" altLang="zh-CN" dirty="0"/>
          </a:p>
          <a:p>
            <a:pPr lvl="2"/>
            <a:r>
              <a:rPr lang="zh-CN" altLang="en-US" dirty="0"/>
              <a:t>得到触发率和阈值关系曲线</a:t>
            </a:r>
            <a:r>
              <a:rPr lang="en-US" altLang="zh-CN" dirty="0"/>
              <a:t>	</a:t>
            </a:r>
          </a:p>
          <a:p>
            <a:pPr lvl="1"/>
            <a:r>
              <a:rPr lang="zh-CN" altLang="en-US" dirty="0"/>
              <a:t>物理含义</a:t>
            </a:r>
            <a:endParaRPr lang="en-US" altLang="zh-CN" dirty="0"/>
          </a:p>
          <a:p>
            <a:pPr lvl="2"/>
            <a:r>
              <a:rPr lang="zh-CN" altLang="en-US" dirty="0"/>
              <a:t>幅度分布概率密度累计曲线</a:t>
            </a:r>
            <a:endParaRPr lang="en-US" altLang="zh-CN" dirty="0"/>
          </a:p>
          <a:p>
            <a:pPr lvl="2"/>
            <a:r>
              <a:rPr lang="zh-CN" altLang="en-US" dirty="0"/>
              <a:t>相邻两个阈值做差得到噪声分布</a:t>
            </a:r>
            <a:endParaRPr lang="en-US" altLang="zh-CN" dirty="0"/>
          </a:p>
          <a:p>
            <a:pPr lvl="2"/>
            <a:r>
              <a:rPr lang="en-US" altLang="zh-CN" dirty="0"/>
              <a:t>S</a:t>
            </a:r>
            <a:r>
              <a:rPr lang="zh-CN" altLang="en-US" dirty="0"/>
              <a:t>曲线</a:t>
            </a:r>
            <a:r>
              <a:rPr lang="en-US" altLang="zh-CN" dirty="0"/>
              <a:t>50%</a:t>
            </a:r>
            <a:r>
              <a:rPr lang="zh-CN" altLang="en-US" dirty="0"/>
              <a:t>处对应的阈值即为该电荷量对应的阈值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520704" y="6492875"/>
            <a:ext cx="984019" cy="365125"/>
          </a:xfrm>
        </p:spPr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5081977" y="609999"/>
            <a:ext cx="4040157" cy="3200133"/>
          </a:xfrm>
          <a:prstGeom prst="rect">
            <a:avLst/>
          </a:prstGeom>
        </p:spPr>
      </p:pic>
      <p:cxnSp>
        <p:nvCxnSpPr>
          <p:cNvPr id="6" name="直接连接符 5"/>
          <p:cNvCxnSpPr/>
          <p:nvPr/>
        </p:nvCxnSpPr>
        <p:spPr>
          <a:xfrm>
            <a:off x="5645072" y="3385314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5645072" y="3313876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5645072" y="3242438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645072" y="3171000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645072" y="3104325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187" y="4019043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47" y="4128188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下箭头 12"/>
          <p:cNvSpPr/>
          <p:nvPr/>
        </p:nvSpPr>
        <p:spPr>
          <a:xfrm>
            <a:off x="6213624" y="3666303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 flipH="1">
            <a:off x="4655237" y="5037358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8036004" y="369214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 flipH="1" flipV="1">
            <a:off x="8012713" y="3385314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0425" y="1943774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刻度曲线</a:t>
            </a:r>
            <a:endParaRPr lang="en-US" altLang="zh-CN" dirty="0" smtClean="0"/>
          </a:p>
          <a:p>
            <a:r>
              <a:rPr lang="zh-CN" altLang="en-US" dirty="0" smtClean="0"/>
              <a:t>通道间增益差异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电子学</a:t>
            </a:r>
            <a:r>
              <a:rPr lang="zh-CN" altLang="en-US" dirty="0" smtClean="0"/>
              <a:t>测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3756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64</a:t>
            </a:r>
            <a:r>
              <a:rPr lang="zh-CN" altLang="en-US" dirty="0"/>
              <a:t>通道一致性测试</a:t>
            </a:r>
            <a:endParaRPr lang="en-US" altLang="zh-CN" dirty="0"/>
          </a:p>
          <a:p>
            <a:pPr lvl="1"/>
            <a:r>
              <a:rPr lang="zh-CN" altLang="en-US" dirty="0"/>
              <a:t>通道</a:t>
            </a:r>
            <a:r>
              <a:rPr lang="zh-CN" altLang="en-US" dirty="0" smtClean="0"/>
              <a:t>不一致性是影响分辨率的主要因素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电子学</a:t>
            </a:r>
            <a:r>
              <a:rPr lang="zh-CN" altLang="en-US" dirty="0" smtClean="0"/>
              <a:t>测试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206062" y="2488366"/>
            <a:ext cx="8559498" cy="4153982"/>
            <a:chOff x="0" y="1695468"/>
            <a:chExt cx="8559498" cy="4153982"/>
          </a:xfrm>
        </p:grpSpPr>
        <p:pic>
          <p:nvPicPr>
            <p:cNvPr id="5" name="图片 4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112228"/>
              <a:ext cx="5186567" cy="373722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" name="矩形 5"/>
            <p:cNvSpPr/>
            <p:nvPr/>
          </p:nvSpPr>
          <p:spPr>
            <a:xfrm>
              <a:off x="311943" y="1695468"/>
              <a:ext cx="498127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修正后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~10fC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注入</a:t>
              </a:r>
              <a:r>
                <a:rPr lang="zh-CN" altLang="en-US" sz="2000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电荷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量下</a:t>
              </a:r>
              <a:r>
                <a:rPr lang="en-US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S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曲线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扫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7" name="直接箭头连接符 6"/>
            <p:cNvCxnSpPr/>
            <p:nvPr/>
          </p:nvCxnSpPr>
          <p:spPr bwMode="auto">
            <a:xfrm flipH="1">
              <a:off x="4010059" y="2112228"/>
              <a:ext cx="1904455" cy="45266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" name="直接箭头连接符 7"/>
            <p:cNvCxnSpPr/>
            <p:nvPr/>
          </p:nvCxnSpPr>
          <p:spPr bwMode="auto">
            <a:xfrm flipH="1" flipV="1">
              <a:off x="3884444" y="2735795"/>
              <a:ext cx="2199752" cy="11866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9" name="矩形 8"/>
            <p:cNvSpPr/>
            <p:nvPr/>
          </p:nvSpPr>
          <p:spPr>
            <a:xfrm>
              <a:off x="6156564" y="1876893"/>
              <a:ext cx="162021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fC(</a:t>
              </a:r>
              <a:r>
                <a:rPr lang="zh-CN" altLang="en-US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</a:t>
              </a:r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)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72789" y="3355478"/>
              <a:ext cx="64808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 bwMode="auto">
            <a:xfrm flipH="1" flipV="1">
              <a:off x="3923916" y="3025368"/>
              <a:ext cx="2160280" cy="50885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" name="矩形 11"/>
            <p:cNvSpPr/>
            <p:nvPr/>
          </p:nvSpPr>
          <p:spPr>
            <a:xfrm>
              <a:off x="6156564" y="2612061"/>
              <a:ext cx="131590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5069533" y="4797148"/>
              <a:ext cx="348996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可分辨最小电荷量为</a:t>
              </a:r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43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通过</a:t>
            </a:r>
            <a:r>
              <a:rPr lang="en-US" altLang="zh-CN" dirty="0"/>
              <a:t>S</a:t>
            </a:r>
            <a:r>
              <a:rPr lang="zh-CN" altLang="en-US" dirty="0"/>
              <a:t>曲线测量噪声</a:t>
            </a:r>
            <a:endParaRPr lang="en-US" altLang="zh-CN" dirty="0"/>
          </a:p>
          <a:p>
            <a:pPr lvl="1"/>
            <a:r>
              <a:rPr lang="zh-CN" altLang="en-US" dirty="0"/>
              <a:t>不接探测器和接上探测器分别测量</a:t>
            </a:r>
            <a:r>
              <a:rPr lang="en-US" altLang="zh-CN" dirty="0"/>
              <a:t>0</a:t>
            </a:r>
            <a:r>
              <a:rPr lang="zh-CN" altLang="en-US" dirty="0"/>
              <a:t>输入</a:t>
            </a:r>
            <a:r>
              <a:rPr lang="en-US" altLang="zh-CN" dirty="0"/>
              <a:t>S</a:t>
            </a:r>
            <a:r>
              <a:rPr lang="zh-CN" altLang="en-US" dirty="0"/>
              <a:t>曲线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r="7098"/>
          <a:stretch/>
        </p:blipFill>
        <p:spPr>
          <a:xfrm>
            <a:off x="4135419" y="2857609"/>
            <a:ext cx="4231341" cy="36000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504571" y="4195944"/>
            <a:ext cx="2630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不接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25fC</a:t>
            </a:r>
          </a:p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接上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35fC</a:t>
            </a:r>
            <a:endParaRPr lang="zh-CN" altLang="en-US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695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grpSp>
        <p:nvGrpSpPr>
          <p:cNvPr id="4" name="组合 3"/>
          <p:cNvGrpSpPr>
            <a:grpSpLocks noChangeAspect="1"/>
          </p:cNvGrpSpPr>
          <p:nvPr/>
        </p:nvGrpSpPr>
        <p:grpSpPr>
          <a:xfrm>
            <a:off x="5614718" y="1762332"/>
            <a:ext cx="2709266" cy="2031950"/>
            <a:chOff x="0" y="3258000"/>
            <a:chExt cx="4799999" cy="3600000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58000"/>
              <a:ext cx="4799999" cy="3600000"/>
            </a:xfrm>
            <a:prstGeom prst="rect">
              <a:avLst/>
            </a:prstGeom>
          </p:spPr>
        </p:pic>
        <p:cxnSp>
          <p:nvCxnSpPr>
            <p:cNvPr id="6" name="直接箭头连接符 5"/>
            <p:cNvCxnSpPr/>
            <p:nvPr/>
          </p:nvCxnSpPr>
          <p:spPr>
            <a:xfrm flipV="1">
              <a:off x="1307592" y="4983480"/>
              <a:ext cx="100584" cy="365760"/>
            </a:xfrm>
            <a:prstGeom prst="straightConnector1">
              <a:avLst/>
            </a:prstGeom>
            <a:ln>
              <a:solidFill>
                <a:srgbClr val="00D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/>
            <p:cNvSpPr txBox="1"/>
            <p:nvPr/>
          </p:nvSpPr>
          <p:spPr>
            <a:xfrm>
              <a:off x="764013" y="5289696"/>
              <a:ext cx="1189709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dirty="0">
                  <a:solidFill>
                    <a:srgbClr val="00DF00"/>
                  </a:solidFill>
                </a:rPr>
                <a:t>Hold</a:t>
              </a:r>
              <a:r>
                <a:rPr lang="zh-CN" altLang="en-US" sz="1200" dirty="0">
                  <a:solidFill>
                    <a:srgbClr val="00DF00"/>
                  </a:solidFill>
                </a:rPr>
                <a:t>信号</a:t>
              </a:r>
            </a:p>
          </p:txBody>
        </p:sp>
        <p:cxnSp>
          <p:nvCxnSpPr>
            <p:cNvPr id="8" name="直接箭头连接符 7"/>
            <p:cNvCxnSpPr/>
            <p:nvPr/>
          </p:nvCxnSpPr>
          <p:spPr>
            <a:xfrm flipV="1">
              <a:off x="3291840" y="4837176"/>
              <a:ext cx="9144" cy="586628"/>
            </a:xfrm>
            <a:prstGeom prst="straightConnector1">
              <a:avLst/>
            </a:prstGeom>
            <a:ln>
              <a:solidFill>
                <a:srgbClr val="00E8E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文本框 8"/>
            <p:cNvSpPr txBox="1"/>
            <p:nvPr/>
          </p:nvSpPr>
          <p:spPr>
            <a:xfrm>
              <a:off x="2861771" y="5364259"/>
              <a:ext cx="1180252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solidFill>
                    <a:srgbClr val="00E8E8"/>
                  </a:solidFill>
                </a:rPr>
                <a:t>峰保输出</a:t>
              </a:r>
            </a:p>
          </p:txBody>
        </p:sp>
        <p:cxnSp>
          <p:nvCxnSpPr>
            <p:cNvPr id="10" name="直接箭头连接符 9"/>
            <p:cNvCxnSpPr/>
            <p:nvPr/>
          </p:nvCxnSpPr>
          <p:spPr>
            <a:xfrm>
              <a:off x="2400000" y="3730752"/>
              <a:ext cx="382006" cy="265176"/>
            </a:xfrm>
            <a:prstGeom prst="straightConnector1">
              <a:avLst/>
            </a:prstGeom>
            <a:ln>
              <a:solidFill>
                <a:srgbClr val="F5F4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文本框 10"/>
            <p:cNvSpPr txBox="1"/>
            <p:nvPr/>
          </p:nvSpPr>
          <p:spPr>
            <a:xfrm>
              <a:off x="946713" y="3420964"/>
              <a:ext cx="2537352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dirty="0">
                  <a:solidFill>
                    <a:srgbClr val="F5F400"/>
                  </a:solidFill>
                </a:rPr>
                <a:t>Low Gain Shaper </a:t>
              </a:r>
              <a:r>
                <a:rPr lang="zh-CN" altLang="en-US" sz="1200" dirty="0">
                  <a:solidFill>
                    <a:srgbClr val="F5F400"/>
                  </a:solidFill>
                </a:rPr>
                <a:t>输出</a:t>
              </a:r>
            </a:p>
          </p:txBody>
        </p:sp>
      </p:grpSp>
      <p:sp>
        <p:nvSpPr>
          <p:cNvPr id="12" name="矩形 11"/>
          <p:cNvSpPr/>
          <p:nvPr/>
        </p:nvSpPr>
        <p:spPr>
          <a:xfrm>
            <a:off x="4552074" y="1437647"/>
            <a:ext cx="45547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利用片外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AD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对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Microro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峰保输出进行测量</a:t>
            </a:r>
            <a:endParaRPr lang="en-US" altLang="zh-CN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29366" y="3465785"/>
            <a:ext cx="41422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利用片外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AD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采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8keV X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射线能谱</a:t>
            </a:r>
            <a:endParaRPr lang="en-US" altLang="zh-CN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418088" y="2763954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EM 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3714818" y="2763954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IF</a:t>
            </a:r>
            <a:r>
              <a:rPr lang="en-US" altLang="zh-CN" dirty="0" smtClean="0">
                <a:solidFill>
                  <a:schemeClr val="tx1"/>
                </a:solidFill>
              </a:rPr>
              <a:t> </a:t>
            </a:r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Board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1945556" y="2756668"/>
            <a:ext cx="1452421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MICROROC Test Board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7" name="直接箭头连接符 16"/>
          <p:cNvCxnSpPr>
            <a:stCxn id="14" idx="3"/>
            <a:endCxn id="16" idx="1"/>
          </p:cNvCxnSpPr>
          <p:nvPr/>
        </p:nvCxnSpPr>
        <p:spPr>
          <a:xfrm flipV="1">
            <a:off x="1436400" y="2990625"/>
            <a:ext cx="509156" cy="7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>
            <a:stCxn id="16" idx="3"/>
            <a:endCxn id="15" idx="1"/>
          </p:cNvCxnSpPr>
          <p:nvPr/>
        </p:nvCxnSpPr>
        <p:spPr>
          <a:xfrm>
            <a:off x="3397977" y="2990625"/>
            <a:ext cx="316841" cy="7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圆角矩形 18"/>
          <p:cNvSpPr/>
          <p:nvPr/>
        </p:nvSpPr>
        <p:spPr>
          <a:xfrm>
            <a:off x="3693582" y="1853922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C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20" name="直接箭头连接符 19"/>
          <p:cNvCxnSpPr/>
          <p:nvPr/>
        </p:nvCxnSpPr>
        <p:spPr>
          <a:xfrm>
            <a:off x="890266" y="2362886"/>
            <a:ext cx="0" cy="4190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圆角矩形 20"/>
          <p:cNvSpPr/>
          <p:nvPr/>
        </p:nvSpPr>
        <p:spPr>
          <a:xfrm>
            <a:off x="381110" y="1919810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X Ray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22" name="直接箭头连接符 21"/>
          <p:cNvCxnSpPr/>
          <p:nvPr/>
        </p:nvCxnSpPr>
        <p:spPr>
          <a:xfrm flipH="1" flipV="1">
            <a:off x="4251727" y="2321835"/>
            <a:ext cx="7948" cy="5395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图片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25" y="3742784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1317826" y="4225600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813324" y="1894439"/>
            <a:ext cx="1400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测试流程图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1583" y="3794282"/>
            <a:ext cx="4077395" cy="2759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均匀性测量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066" y="1548969"/>
            <a:ext cx="2358909" cy="176683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2377" y="1585714"/>
            <a:ext cx="2355778" cy="1766833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967845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605095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323524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120108" y="2240980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2015745" y="2471950"/>
            <a:ext cx="127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002921" y="2748364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下弧形箭头 11"/>
          <p:cNvSpPr/>
          <p:nvPr/>
        </p:nvSpPr>
        <p:spPr>
          <a:xfrm rot="16200000">
            <a:off x="1159560" y="2091266"/>
            <a:ext cx="1010889" cy="62225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文本框 25"/>
          <p:cNvSpPr txBox="1">
            <a:spLocks noChangeArrowheads="1"/>
          </p:cNvSpPr>
          <p:nvPr/>
        </p:nvSpPr>
        <p:spPr bwMode="auto">
          <a:xfrm>
            <a:off x="3446121" y="2169954"/>
            <a:ext cx="254243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Pad</a:t>
            </a:r>
            <a:r>
              <a:rPr lang="zh-CN" altLang="en-US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大小：</a:t>
            </a:r>
            <a:r>
              <a:rPr lang="en-US" altLang="zh-CN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1cmx1cm</a:t>
            </a:r>
            <a:endParaRPr lang="en-US" altLang="zh-CN" b="1" dirty="0">
              <a:solidFill>
                <a:srgbClr val="FFFF00"/>
              </a:solidFill>
              <a:latin typeface="楷体" pitchFamily="49" charset="-122"/>
              <a:ea typeface="楷体" pitchFamily="49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9643" y="1484171"/>
            <a:ext cx="2523018" cy="1871195"/>
          </a:xfrm>
          <a:prstGeom prst="rect">
            <a:avLst/>
          </a:prstGeom>
          <a:effectLst>
            <a:outerShdw dist="50800" sx="78000" sy="78000" algn="ctr" rotWithShape="0">
              <a:srgbClr val="000000">
                <a:alpha val="0"/>
              </a:srgbClr>
            </a:outerShdw>
          </a:effectLst>
        </p:spPr>
      </p:pic>
      <p:sp>
        <p:nvSpPr>
          <p:cNvPr id="15" name="文本框 14"/>
          <p:cNvSpPr txBox="1"/>
          <p:nvPr/>
        </p:nvSpPr>
        <p:spPr>
          <a:xfrm>
            <a:off x="6725115" y="2401802"/>
            <a:ext cx="160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 Ray</a:t>
            </a:r>
            <a:endParaRPr lang="zh-CN" altLang="en-US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2873" y="4062354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433066" y="3665981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557" y="370107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309701" y="449577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212377" y="4203437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446121" y="3637104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图</a:t>
            </a:r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宇宙线测量效率和串扰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串扰和效率测量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4775" y="1544795"/>
            <a:ext cx="3573624" cy="1491987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922862" y="2462969"/>
            <a:ext cx="8402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b="1" dirty="0">
                <a:solidFill>
                  <a:srgbClr val="FF0000"/>
                </a:solidFill>
              </a:rPr>
              <a:t>PMT1</a:t>
            </a:r>
            <a:endParaRPr lang="zh-CN" altLang="en-US" sz="1000" b="1" dirty="0">
              <a:solidFill>
                <a:srgbClr val="FF0000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7582922" y="1706340"/>
            <a:ext cx="8828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rgbClr val="0000FF"/>
                </a:solidFill>
              </a:rPr>
              <a:t>PMT2</a:t>
            </a:r>
            <a:endParaRPr lang="zh-CN" altLang="en-US" sz="1000" b="1" dirty="0">
              <a:solidFill>
                <a:srgbClr val="0000FF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8024368" y="2290788"/>
            <a:ext cx="83093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" b="1" dirty="0">
                <a:solidFill>
                  <a:srgbClr val="92D050"/>
                </a:solidFill>
              </a:rPr>
              <a:t>符合信号</a:t>
            </a:r>
          </a:p>
        </p:txBody>
      </p:sp>
      <p:sp>
        <p:nvSpPr>
          <p:cNvPr id="8" name="矩形 7"/>
          <p:cNvSpPr/>
          <p:nvPr/>
        </p:nvSpPr>
        <p:spPr>
          <a:xfrm>
            <a:off x="6104377" y="1610962"/>
            <a:ext cx="13962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 smtClean="0">
                <a:solidFill>
                  <a:srgbClr val="FFC000"/>
                </a:solidFill>
              </a:rPr>
              <a:t>GEM</a:t>
            </a:r>
            <a:r>
              <a:rPr lang="zh-CN" altLang="en-US" sz="1200" b="1" dirty="0" smtClean="0">
                <a:solidFill>
                  <a:srgbClr val="FFC000"/>
                </a:solidFill>
              </a:rPr>
              <a:t>探测器信号</a:t>
            </a:r>
            <a:endParaRPr lang="zh-CN" altLang="en-US" sz="1200" b="1" dirty="0">
              <a:solidFill>
                <a:srgbClr val="FFC000"/>
              </a:solidFill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 flipH="1">
            <a:off x="7554166" y="1884504"/>
            <a:ext cx="136763" cy="165408"/>
          </a:xfrm>
          <a:prstGeom prst="straightConnector1">
            <a:avLst/>
          </a:prstGeom>
          <a:ln w="2540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/>
          <p:cNvCxnSpPr/>
          <p:nvPr/>
        </p:nvCxnSpPr>
        <p:spPr>
          <a:xfrm flipH="1" flipV="1">
            <a:off x="6856603" y="2345254"/>
            <a:ext cx="97217" cy="209089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/>
          <p:nvPr/>
        </p:nvCxnSpPr>
        <p:spPr>
          <a:xfrm>
            <a:off x="6677004" y="1829451"/>
            <a:ext cx="125512" cy="220461"/>
          </a:xfrm>
          <a:prstGeom prst="straightConnector1">
            <a:avLst/>
          </a:prstGeom>
          <a:ln w="254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219536" y="2939156"/>
            <a:ext cx="6306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zh-CN" altLang="en-US" sz="1200" dirty="0"/>
              <a:t>通过读回数据包和总触发数测量探测</a:t>
            </a:r>
            <a:r>
              <a:rPr lang="zh-CN" altLang="en-US" sz="1200" dirty="0" smtClean="0"/>
              <a:t>效率（阈值</a:t>
            </a:r>
            <a:r>
              <a:rPr lang="zh-CN" altLang="en-US" sz="1200" dirty="0"/>
              <a:t>：</a:t>
            </a:r>
            <a:r>
              <a:rPr lang="en-US" altLang="zh-CN" sz="1200" dirty="0" smtClean="0"/>
              <a:t>6fc</a:t>
            </a:r>
            <a:r>
              <a:rPr lang="zh-CN" altLang="en-US" sz="1200" dirty="0" smtClean="0"/>
              <a:t>）</a:t>
            </a:r>
            <a:endParaRPr lang="en-US" altLang="zh-CN" sz="1200" dirty="0"/>
          </a:p>
          <a:p>
            <a:pPr marL="0" lvl="1"/>
            <a:r>
              <a:rPr lang="zh-CN" altLang="en-US" sz="1200" dirty="0" smtClean="0"/>
              <a:t>效率：</a:t>
            </a:r>
            <a:r>
              <a:rPr lang="en-US" altLang="zh-CN" sz="1200" dirty="0"/>
              <a:t>10981/13000</a:t>
            </a:r>
            <a:r>
              <a:rPr lang="zh-CN" altLang="en-US" sz="1200" dirty="0"/>
              <a:t>～</a:t>
            </a:r>
            <a:r>
              <a:rPr lang="en-US" altLang="zh-CN" sz="1200" dirty="0"/>
              <a:t>84.5%</a:t>
            </a:r>
          </a:p>
          <a:p>
            <a:endParaRPr lang="en-US" altLang="zh-CN" sz="1200" dirty="0" smtClean="0"/>
          </a:p>
          <a:p>
            <a:endParaRPr lang="zh-CN" altLang="en-US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481" y="1531803"/>
            <a:ext cx="4867562" cy="1237734"/>
          </a:xfrm>
          <a:prstGeom prst="rect">
            <a:avLst/>
          </a:prstGeom>
        </p:spPr>
      </p:pic>
      <p:graphicFrame>
        <p:nvGraphicFramePr>
          <p:cNvPr id="14" name="Group 54"/>
          <p:cNvGraphicFramePr>
            <a:graphicFrameLocks/>
          </p:cNvGraphicFramePr>
          <p:nvPr>
            <p:extLst/>
          </p:nvPr>
        </p:nvGraphicFramePr>
        <p:xfrm>
          <a:off x="526394" y="4156297"/>
          <a:ext cx="4889294" cy="2096822"/>
        </p:xfrm>
        <a:graphic>
          <a:graphicData uri="http://schemas.openxmlformats.org/drawingml/2006/table">
            <a:tbl>
              <a:tblPr/>
              <a:tblGrid>
                <a:gridCol w="2082842"/>
                <a:gridCol w="1058866"/>
                <a:gridCol w="904133"/>
                <a:gridCol w="843453"/>
              </a:tblGrid>
              <a:tr h="35209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非击中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pad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信号分析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60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一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6 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二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0 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三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50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  <a:tr h="3425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一个阈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6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864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1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</a:tr>
              <a:tr h="326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二个阈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0 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 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688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9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3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  <a:tr h="3425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三个阈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50 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48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3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1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</a:tr>
              <a:tr h="326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总计数：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0000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93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6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</a:tbl>
          </a:graphicData>
        </a:graphic>
      </p:graphicFrame>
      <p:sp>
        <p:nvSpPr>
          <p:cNvPr id="15" name="文本框 14"/>
          <p:cNvSpPr txBox="1"/>
          <p:nvPr/>
        </p:nvSpPr>
        <p:spPr>
          <a:xfrm>
            <a:off x="794301" y="6324524"/>
            <a:ext cx="5027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/>
              <a:t>当事例击中</a:t>
            </a:r>
            <a:r>
              <a:rPr lang="en-US" altLang="zh-CN" sz="1200" dirty="0" smtClean="0"/>
              <a:t>pad</a:t>
            </a:r>
            <a:r>
              <a:rPr lang="zh-CN" altLang="en-US" sz="1200" dirty="0" smtClean="0"/>
              <a:t>后，对相邻</a:t>
            </a:r>
            <a:r>
              <a:rPr lang="en-US" altLang="zh-CN" sz="1200" dirty="0" smtClean="0"/>
              <a:t>pad</a:t>
            </a:r>
            <a:r>
              <a:rPr lang="zh-CN" altLang="en-US" sz="1200" dirty="0" smtClean="0"/>
              <a:t>有影响的事例数所占比例为</a:t>
            </a:r>
            <a:r>
              <a:rPr lang="en-US" altLang="zh-CN" sz="1200" dirty="0" smtClean="0"/>
              <a:t>1.54%</a:t>
            </a:r>
            <a:endParaRPr lang="zh-CN" altLang="en-US" sz="1200" dirty="0"/>
          </a:p>
        </p:txBody>
      </p:sp>
      <p:sp>
        <p:nvSpPr>
          <p:cNvPr id="16" name="文本框 15"/>
          <p:cNvSpPr txBox="1"/>
          <p:nvPr/>
        </p:nvSpPr>
        <p:spPr>
          <a:xfrm>
            <a:off x="275481" y="3756437"/>
            <a:ext cx="9021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设置</a:t>
            </a:r>
            <a:r>
              <a:rPr lang="en-US" altLang="zh-CN" sz="1400" dirty="0" smtClean="0"/>
              <a:t>3</a:t>
            </a:r>
            <a:r>
              <a:rPr lang="zh-CN" altLang="en-US" sz="1400" dirty="0" smtClean="0"/>
              <a:t>个阈，</a:t>
            </a:r>
            <a:r>
              <a:rPr lang="en-US" altLang="zh-CN" sz="1400" dirty="0" smtClean="0"/>
              <a:t>6fc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20fc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150fc</a:t>
            </a:r>
            <a:r>
              <a:rPr lang="zh-CN" altLang="en-US" sz="1400" dirty="0" smtClean="0"/>
              <a:t>。当且仅当过其中一个阈值时，分别统计击中</a:t>
            </a:r>
            <a:r>
              <a:rPr lang="en-US" altLang="zh-CN" sz="1400" dirty="0" smtClean="0"/>
              <a:t>pad</a:t>
            </a:r>
            <a:r>
              <a:rPr lang="zh-CN" altLang="en-US" sz="1400" dirty="0" smtClean="0"/>
              <a:t>信号过阈时对相邻信号的影响</a:t>
            </a:r>
            <a:r>
              <a:rPr lang="en-US" altLang="zh-CN" sz="1400" dirty="0" smtClean="0"/>
              <a:t>.</a:t>
            </a:r>
            <a:endParaRPr lang="zh-CN" altLang="en-US" sz="1400" dirty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1768" y="4209571"/>
            <a:ext cx="2618065" cy="2012463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159708" y="2584871"/>
            <a:ext cx="2743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效率测试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188552" y="3409352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串扰测试</a:t>
            </a:r>
          </a:p>
        </p:txBody>
      </p:sp>
    </p:spTree>
    <p:extLst>
      <p:ext uri="{BB962C8B-B14F-4D97-AF65-F5344CB8AC3E}">
        <p14:creationId xmlns:p14="http://schemas.microsoft.com/office/powerpoint/2010/main" val="428273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/>
              <a:t>粒子</a:t>
            </a:r>
            <a:r>
              <a:rPr lang="zh-CN" altLang="en-US" dirty="0" smtClean="0"/>
              <a:t>流算法和半数字化读出</a:t>
            </a:r>
            <a:endParaRPr lang="en-US" altLang="zh-CN" dirty="0" smtClean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860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50cm*100cm</a:t>
            </a:r>
            <a:r>
              <a:rPr lang="zh-CN" altLang="en-US" dirty="0" smtClean="0"/>
              <a:t>探测器设计</a:t>
            </a:r>
            <a:endParaRPr lang="zh-CN" altLang="en-US" dirty="0"/>
          </a:p>
        </p:txBody>
      </p:sp>
      <p:sp>
        <p:nvSpPr>
          <p:cNvPr id="4" name="TextBox 10"/>
          <p:cNvSpPr txBox="1">
            <a:spLocks noChangeArrowheads="1"/>
          </p:cNvSpPr>
          <p:nvPr/>
        </p:nvSpPr>
        <p:spPr bwMode="auto">
          <a:xfrm>
            <a:off x="233120" y="1396004"/>
            <a:ext cx="44262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单层</a:t>
            </a:r>
            <a:r>
              <a:rPr lang="en-US" altLang="zh-CN" sz="1600" b="1" dirty="0">
                <a:solidFill>
                  <a:srgbClr val="00B050"/>
                </a:solidFill>
                <a:latin typeface="+mn-ea"/>
                <a:ea typeface="+mn-ea"/>
              </a:rPr>
              <a:t>GEM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膜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在张力、重力及电场力下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垂直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形变图</a:t>
            </a:r>
            <a:endParaRPr lang="zh-CN" altLang="en-US" sz="1600" b="1" dirty="0">
              <a:solidFill>
                <a:srgbClr val="00B050"/>
              </a:solidFill>
              <a:latin typeface="+mn-ea"/>
              <a:ea typeface="+mn-ea"/>
            </a:endParaRPr>
          </a:p>
        </p:txBody>
      </p:sp>
      <p:pic>
        <p:nvPicPr>
          <p:cNvPr id="5" name="内容占位符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781653"/>
            <a:ext cx="4038600" cy="191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内容占位符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27" y="1647826"/>
            <a:ext cx="2893933" cy="1912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文本框 5"/>
          <p:cNvSpPr txBox="1">
            <a:spLocks noChangeArrowheads="1"/>
          </p:cNvSpPr>
          <p:nvPr/>
        </p:nvSpPr>
        <p:spPr bwMode="auto">
          <a:xfrm>
            <a:off x="6934106" y="3462155"/>
            <a:ext cx="1219200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 dirty="0"/>
              <a:t>tension(N/m)</a:t>
            </a:r>
            <a:endParaRPr lang="zh-CN" altLang="en-US" sz="1400" dirty="0"/>
          </a:p>
        </p:txBody>
      </p:sp>
      <p:sp>
        <p:nvSpPr>
          <p:cNvPr id="8" name="文本框 19"/>
          <p:cNvSpPr txBox="1">
            <a:spLocks noChangeArrowheads="1"/>
          </p:cNvSpPr>
          <p:nvPr/>
        </p:nvSpPr>
        <p:spPr bwMode="auto">
          <a:xfrm rot="-5400000">
            <a:off x="4791309" y="1913732"/>
            <a:ext cx="839787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/>
              <a:t>sag(um)</a:t>
            </a:r>
            <a:endParaRPr lang="zh-CN" altLang="en-US" sz="1400"/>
          </a:p>
        </p:txBody>
      </p:sp>
      <p:sp>
        <p:nvSpPr>
          <p:cNvPr id="9" name="文本框 8"/>
          <p:cNvSpPr txBox="1"/>
          <p:nvPr/>
        </p:nvSpPr>
        <p:spPr>
          <a:xfrm>
            <a:off x="5645314" y="1396004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B050"/>
                </a:solidFill>
              </a:rPr>
              <a:t>最大形变随张力变化</a:t>
            </a:r>
            <a:endParaRPr lang="zh-CN" altLang="en-US" sz="1600" b="1" dirty="0">
              <a:solidFill>
                <a:srgbClr val="00B050"/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282700" y="3757777"/>
            <a:ext cx="65658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最大垂直形变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100u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相对于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m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间距可接受。</a:t>
            </a:r>
            <a:endParaRPr lang="en-US" altLang="zh-CN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内容占位符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8" y="4175659"/>
            <a:ext cx="3473450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内容占位符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386" y="4175659"/>
            <a:ext cx="3213100" cy="210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文本框 6"/>
          <p:cNvSpPr txBox="1">
            <a:spLocks noChangeArrowheads="1"/>
          </p:cNvSpPr>
          <p:nvPr/>
        </p:nvSpPr>
        <p:spPr bwMode="auto">
          <a:xfrm>
            <a:off x="1531938" y="5131334"/>
            <a:ext cx="17367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>
                <a:solidFill>
                  <a:srgbClr val="0000FF"/>
                </a:solidFill>
              </a:rPr>
              <a:t>Tension sensor</a:t>
            </a:r>
            <a:endParaRPr lang="zh-CN" altLang="en-US">
              <a:solidFill>
                <a:srgbClr val="0000FF"/>
              </a:solidFill>
            </a:endParaRPr>
          </a:p>
        </p:txBody>
      </p:sp>
      <p:cxnSp>
        <p:nvCxnSpPr>
          <p:cNvPr id="14" name="直接箭头连接符 13"/>
          <p:cNvCxnSpPr/>
          <p:nvPr/>
        </p:nvCxnSpPr>
        <p:spPr>
          <a:xfrm flipH="1" flipV="1">
            <a:off x="2443163" y="4786847"/>
            <a:ext cx="73025" cy="433387"/>
          </a:xfrm>
          <a:prstGeom prst="straightConnector1">
            <a:avLst/>
          </a:prstGeom>
          <a:ln>
            <a:solidFill>
              <a:srgbClr val="FFFF66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H="1" flipV="1">
            <a:off x="1308100" y="4786847"/>
            <a:ext cx="1047750" cy="441325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1981268" y="6341309"/>
            <a:ext cx="40094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，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拉伸量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2.5mm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33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集成到探测器读出板背后</a:t>
            </a:r>
            <a:endParaRPr lang="en-US" altLang="zh-CN" dirty="0" smtClean="0"/>
          </a:p>
          <a:p>
            <a:pPr lvl="1"/>
            <a:r>
              <a:rPr lang="zh-CN" altLang="en-US" dirty="0"/>
              <a:t>盲埋</a:t>
            </a:r>
            <a:r>
              <a:rPr lang="zh-CN" altLang="en-US" dirty="0" smtClean="0"/>
              <a:t>孔工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对读出板进行控制</a:t>
            </a:r>
            <a:endParaRPr lang="en-US" altLang="zh-CN" dirty="0"/>
          </a:p>
          <a:p>
            <a:pPr lvl="1"/>
            <a:r>
              <a:rPr lang="zh-CN" altLang="en-US" dirty="0" smtClean="0"/>
              <a:t>多层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进行打包汇总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64016" y="3099859"/>
            <a:ext cx="5084309" cy="2913556"/>
            <a:chOff x="564016" y="3099859"/>
            <a:chExt cx="5084309" cy="2913556"/>
          </a:xfrm>
        </p:grpSpPr>
        <p:sp>
          <p:nvSpPr>
            <p:cNvPr id="5" name="矩形 4"/>
            <p:cNvSpPr/>
            <p:nvPr/>
          </p:nvSpPr>
          <p:spPr>
            <a:xfrm>
              <a:off x="3090991" y="4440626"/>
              <a:ext cx="619387" cy="24833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4016" y="3364502"/>
              <a:ext cx="2557334" cy="2648913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6289" y="3548518"/>
              <a:ext cx="1982036" cy="2032547"/>
            </a:xfrm>
            <a:prstGeom prst="rect">
              <a:avLst/>
            </a:prstGeom>
          </p:spPr>
        </p:pic>
        <p:sp>
          <p:nvSpPr>
            <p:cNvPr id="8" name="文本框 7"/>
            <p:cNvSpPr txBox="1"/>
            <p:nvPr/>
          </p:nvSpPr>
          <p:spPr>
            <a:xfrm>
              <a:off x="1238692" y="3099859"/>
              <a:ext cx="603991" cy="3197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FEB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4369990" y="3283875"/>
              <a:ext cx="574634" cy="3197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DIF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</p:grpSp>
      <p:grpSp>
        <p:nvGrpSpPr>
          <p:cNvPr id="760" name="组合 759"/>
          <p:cNvGrpSpPr/>
          <p:nvPr/>
        </p:nvGrpSpPr>
        <p:grpSpPr>
          <a:xfrm>
            <a:off x="589416" y="3364502"/>
            <a:ext cx="7063018" cy="3022603"/>
            <a:chOff x="751292" y="1690850"/>
            <a:chExt cx="7063018" cy="3022603"/>
          </a:xfrm>
        </p:grpSpPr>
        <p:grpSp>
          <p:nvGrpSpPr>
            <p:cNvPr id="761" name="组合 760"/>
            <p:cNvGrpSpPr/>
            <p:nvPr/>
          </p:nvGrpSpPr>
          <p:grpSpPr>
            <a:xfrm>
              <a:off x="751292" y="1690850"/>
              <a:ext cx="5470903" cy="3022603"/>
              <a:chOff x="3088092" y="3697450"/>
              <a:chExt cx="5470903" cy="3022603"/>
            </a:xfrm>
          </p:grpSpPr>
          <p:grpSp>
            <p:nvGrpSpPr>
              <p:cNvPr id="764" name="组合 763"/>
              <p:cNvGrpSpPr/>
              <p:nvPr/>
            </p:nvGrpSpPr>
            <p:grpSpPr>
              <a:xfrm>
                <a:off x="3492501" y="4024477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509" name="组合 1508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630" name="矩形 1629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631" name="图片 1630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510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511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2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3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4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15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16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7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8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9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0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1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2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3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4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5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6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7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8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9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0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1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2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3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4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5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6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7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8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9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0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1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2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3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4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5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6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7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8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9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0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1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2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3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4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5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6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7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8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9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0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1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2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3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4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5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6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7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8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9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0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1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2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3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4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5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6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7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8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9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0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1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2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3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4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5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86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7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8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89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0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1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2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3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4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5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6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7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8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9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0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1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2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3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4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5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6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7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8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9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0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1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2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3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4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5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6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7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8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9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0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1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2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3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4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5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6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7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8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9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5" name="组合 764"/>
              <p:cNvGrpSpPr/>
              <p:nvPr/>
            </p:nvGrpSpPr>
            <p:grpSpPr>
              <a:xfrm>
                <a:off x="3424239" y="3962564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386" name="组合 1385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507" name="矩形 1506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508" name="图片 1507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387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388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9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0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1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2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3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4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5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6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7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8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9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0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1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2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3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4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5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6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7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8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9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0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1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2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3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4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5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6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7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8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9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0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1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2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3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4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5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6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7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8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9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0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1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2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3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4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5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6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7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8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9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0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41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2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3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44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5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6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7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8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9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0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1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2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3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4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5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6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7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8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9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0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1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2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3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4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5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6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7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8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9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0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1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2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3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4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5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6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7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8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9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0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1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2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3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4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5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6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7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8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9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90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91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2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3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4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5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6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7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8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9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0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1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2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3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4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5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6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6" name="组合 765"/>
              <p:cNvGrpSpPr/>
              <p:nvPr/>
            </p:nvGrpSpPr>
            <p:grpSpPr>
              <a:xfrm>
                <a:off x="3354792" y="3900651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263" name="组合 1262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384" name="矩形 1383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385" name="图片 1384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264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265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6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7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8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69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0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1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2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3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4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5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6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7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8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9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0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1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2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3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4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5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6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7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8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9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0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1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2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3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4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5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6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7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8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9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0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1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2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3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4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5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6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7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8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9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0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1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2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3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4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5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6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7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8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9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0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21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2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3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4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5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6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7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8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9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0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1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2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3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4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5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6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7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8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9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0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1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2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3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4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5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6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7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8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9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0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1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2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3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4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5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6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7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8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9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0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1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2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3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4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5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6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7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8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9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0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1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2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3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4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5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6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7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8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9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0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1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2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3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7" name="组合 766"/>
              <p:cNvGrpSpPr/>
              <p:nvPr/>
            </p:nvGrpSpPr>
            <p:grpSpPr>
              <a:xfrm>
                <a:off x="3280179" y="3838738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140" name="组合 1139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261" name="矩形 1260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262" name="图片 1261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141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142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3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4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5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46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47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8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9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0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1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2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3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4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5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6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7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8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9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0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1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2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3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4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5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6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7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8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9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0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1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2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3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4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5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6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7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8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9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0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1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2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3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4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5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6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7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8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9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0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1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2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3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4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5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6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7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8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9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0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1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2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3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4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5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6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7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8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9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0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1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2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3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4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5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6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17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8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9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0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1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2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3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4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5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6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7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8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9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0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1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2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3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4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5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6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7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8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9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0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1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2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3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4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5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6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7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8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9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0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1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2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3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4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5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6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7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8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9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0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8" name="组合 767"/>
              <p:cNvGrpSpPr/>
              <p:nvPr/>
            </p:nvGrpSpPr>
            <p:grpSpPr>
              <a:xfrm>
                <a:off x="3215093" y="3794288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017" name="组合 1016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138" name="矩形 1137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139" name="图片 1138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018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019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0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1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2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23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24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5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6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7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8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9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0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1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2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3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4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5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6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7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8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9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0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1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2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3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4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5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6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7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8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9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0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1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2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3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4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5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6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7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8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9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0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1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2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3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4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5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6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7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8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9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0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1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2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3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4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5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6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7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8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9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0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1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2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3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4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5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6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7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8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9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0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1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2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3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4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5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6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7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8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9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0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1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2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3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4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5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6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7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8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9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0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1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2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3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4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5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6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7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8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9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0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1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2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3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4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5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6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7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8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9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0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1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2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3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4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5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6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7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9" name="组合 768"/>
              <p:cNvGrpSpPr/>
              <p:nvPr/>
            </p:nvGrpSpPr>
            <p:grpSpPr>
              <a:xfrm>
                <a:off x="3155845" y="3738892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894" name="组合 893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015" name="矩形 1014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016" name="图片 1015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895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896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7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8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9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0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1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2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3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4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5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6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7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8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9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0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1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2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3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4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5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6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7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8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9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0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1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2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3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4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5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6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7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8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9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0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1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2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3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4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5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6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7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8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9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0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1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2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3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4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5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6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7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8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9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0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1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52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3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4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5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6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7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8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9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0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1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2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3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4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5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6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7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8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9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0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1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2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3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4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5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6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7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8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9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1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2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3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4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5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6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7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8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9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0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1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2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93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94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5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6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7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8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9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0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1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2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3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4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5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6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7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8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9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0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1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2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3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4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70" name="组合 769"/>
              <p:cNvGrpSpPr/>
              <p:nvPr/>
            </p:nvGrpSpPr>
            <p:grpSpPr>
              <a:xfrm>
                <a:off x="3088092" y="3697450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771" name="组合 770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892" name="矩形 891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893" name="图片 892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772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40000" cy="2695576"/>
                  <a:chOff x="1770" y="1397"/>
                  <a:chExt cx="1600" cy="1698"/>
                </a:xfrm>
              </p:grpSpPr>
              <p:sp>
                <p:nvSpPr>
                  <p:cNvPr id="773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4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5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6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77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78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9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0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1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2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3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84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5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6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87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8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9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0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1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2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3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4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5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6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7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8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9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0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1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2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3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4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5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6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7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8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9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0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1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2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3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4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5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6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7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8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9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0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1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2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3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4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5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6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7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8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9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0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1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2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3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4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5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6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7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8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9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0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1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2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3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4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5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6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7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163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Power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48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9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0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65" cy="8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连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1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65" cy="8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接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2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65" cy="8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器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3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4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5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6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7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8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9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154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Test Por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0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1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2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3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4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5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6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7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8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9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0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1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2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3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4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5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6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7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8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9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0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1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2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3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4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5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6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7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8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9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0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1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</p:grpSp>
        <p:sp>
          <p:nvSpPr>
            <p:cNvPr id="762" name="矩形 761"/>
            <p:cNvSpPr/>
            <p:nvPr/>
          </p:nvSpPr>
          <p:spPr>
            <a:xfrm>
              <a:off x="7071360" y="2602230"/>
              <a:ext cx="742950" cy="826770"/>
            </a:xfrm>
            <a:prstGeom prst="rect">
              <a:avLst/>
            </a:prstGeom>
            <a:solidFill>
              <a:schemeClr val="bg1"/>
            </a:solidFill>
            <a:ln w="31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 smtClean="0">
                  <a:solidFill>
                    <a:schemeClr val="tx1"/>
                  </a:solidFill>
                </a:rPr>
                <a:t>DAQ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763" name="右箭头 762"/>
            <p:cNvSpPr/>
            <p:nvPr/>
          </p:nvSpPr>
          <p:spPr>
            <a:xfrm>
              <a:off x="6248400" y="2865120"/>
              <a:ext cx="822960" cy="304800"/>
            </a:xfrm>
            <a:prstGeom prst="rightArrow">
              <a:avLst/>
            </a:prstGeom>
            <a:noFill/>
            <a:ln w="1270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171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2630185" y="3113070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32" name="组合 31"/>
          <p:cNvGrpSpPr/>
          <p:nvPr/>
        </p:nvGrpSpPr>
        <p:grpSpPr>
          <a:xfrm>
            <a:off x="158269" y="1519217"/>
            <a:ext cx="4153430" cy="2276598"/>
            <a:chOff x="4749319" y="1544563"/>
            <a:chExt cx="4153430" cy="2276598"/>
          </a:xfrm>
        </p:grpSpPr>
        <p:sp>
          <p:nvSpPr>
            <p:cNvPr id="6" name="任意多边形 5"/>
            <p:cNvSpPr/>
            <p:nvPr/>
          </p:nvSpPr>
          <p:spPr bwMode="auto">
            <a:xfrm>
              <a:off x="8574652" y="2107186"/>
              <a:ext cx="320906" cy="191387"/>
            </a:xfrm>
            <a:custGeom>
              <a:avLst/>
              <a:gdLst>
                <a:gd name="connsiteX0" fmla="*/ 523875 w 525249"/>
                <a:gd name="connsiteY0" fmla="*/ 315699 h 315699"/>
                <a:gd name="connsiteX1" fmla="*/ 523875 w 525249"/>
                <a:gd name="connsiteY1" fmla="*/ 239499 h 315699"/>
                <a:gd name="connsiteX2" fmla="*/ 509587 w 525249"/>
                <a:gd name="connsiteY2" fmla="*/ 215687 h 315699"/>
                <a:gd name="connsiteX3" fmla="*/ 495300 w 525249"/>
                <a:gd name="connsiteY3" fmla="*/ 172824 h 315699"/>
                <a:gd name="connsiteX4" fmla="*/ 442912 w 525249"/>
                <a:gd name="connsiteY4" fmla="*/ 120437 h 315699"/>
                <a:gd name="connsiteX5" fmla="*/ 395287 w 525249"/>
                <a:gd name="connsiteY5" fmla="*/ 91862 h 315699"/>
                <a:gd name="connsiteX6" fmla="*/ 309562 w 525249"/>
                <a:gd name="connsiteY6" fmla="*/ 63287 h 315699"/>
                <a:gd name="connsiteX7" fmla="*/ 247650 w 525249"/>
                <a:gd name="connsiteY7" fmla="*/ 44237 h 315699"/>
                <a:gd name="connsiteX8" fmla="*/ 185737 w 525249"/>
                <a:gd name="connsiteY8" fmla="*/ 34712 h 315699"/>
                <a:gd name="connsiteX9" fmla="*/ 95250 w 525249"/>
                <a:gd name="connsiteY9" fmla="*/ 20424 h 315699"/>
                <a:gd name="connsiteX10" fmla="*/ 42862 w 525249"/>
                <a:gd name="connsiteY10" fmla="*/ 15662 h 315699"/>
                <a:gd name="connsiteX11" fmla="*/ 23812 w 525249"/>
                <a:gd name="connsiteY11" fmla="*/ 1374 h 315699"/>
                <a:gd name="connsiteX12" fmla="*/ 0 w 525249"/>
                <a:gd name="connsiteY12" fmla="*/ 1374 h 315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5249" h="315699">
                  <a:moveTo>
                    <a:pt x="523875" y="315699"/>
                  </a:moveTo>
                  <a:cubicBezTo>
                    <a:pt x="525065" y="285933"/>
                    <a:pt x="526256" y="256168"/>
                    <a:pt x="523875" y="239499"/>
                  </a:cubicBezTo>
                  <a:cubicBezTo>
                    <a:pt x="521494" y="222830"/>
                    <a:pt x="514349" y="226799"/>
                    <a:pt x="509587" y="215687"/>
                  </a:cubicBezTo>
                  <a:cubicBezTo>
                    <a:pt x="504825" y="204575"/>
                    <a:pt x="506412" y="188699"/>
                    <a:pt x="495300" y="172824"/>
                  </a:cubicBezTo>
                  <a:cubicBezTo>
                    <a:pt x="484187" y="156949"/>
                    <a:pt x="459581" y="133931"/>
                    <a:pt x="442912" y="120437"/>
                  </a:cubicBezTo>
                  <a:cubicBezTo>
                    <a:pt x="426243" y="106943"/>
                    <a:pt x="417512" y="101387"/>
                    <a:pt x="395287" y="91862"/>
                  </a:cubicBezTo>
                  <a:cubicBezTo>
                    <a:pt x="373062" y="82337"/>
                    <a:pt x="334168" y="71224"/>
                    <a:pt x="309562" y="63287"/>
                  </a:cubicBezTo>
                  <a:cubicBezTo>
                    <a:pt x="284956" y="55350"/>
                    <a:pt x="268287" y="48999"/>
                    <a:pt x="247650" y="44237"/>
                  </a:cubicBezTo>
                  <a:cubicBezTo>
                    <a:pt x="227013" y="39475"/>
                    <a:pt x="185737" y="34712"/>
                    <a:pt x="185737" y="34712"/>
                  </a:cubicBezTo>
                  <a:lnTo>
                    <a:pt x="95250" y="20424"/>
                  </a:lnTo>
                  <a:cubicBezTo>
                    <a:pt x="71437" y="17249"/>
                    <a:pt x="54768" y="18837"/>
                    <a:pt x="42862" y="15662"/>
                  </a:cubicBezTo>
                  <a:cubicBezTo>
                    <a:pt x="30956" y="12487"/>
                    <a:pt x="30956" y="3755"/>
                    <a:pt x="23812" y="1374"/>
                  </a:cubicBezTo>
                  <a:cubicBezTo>
                    <a:pt x="16668" y="-1007"/>
                    <a:pt x="8334" y="183"/>
                    <a:pt x="0" y="1374"/>
                  </a:cubicBezTo>
                </a:path>
              </a:pathLst>
            </a:cu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" name="任意多边形 6"/>
            <p:cNvSpPr/>
            <p:nvPr/>
          </p:nvSpPr>
          <p:spPr bwMode="auto">
            <a:xfrm>
              <a:off x="4983566" y="2075448"/>
              <a:ext cx="360457" cy="225049"/>
            </a:xfrm>
            <a:custGeom>
              <a:avLst/>
              <a:gdLst>
                <a:gd name="connsiteX0" fmla="*/ 0 w 666750"/>
                <a:gd name="connsiteY0" fmla="*/ 419100 h 419100"/>
                <a:gd name="connsiteX1" fmla="*/ 28575 w 666750"/>
                <a:gd name="connsiteY1" fmla="*/ 285750 h 419100"/>
                <a:gd name="connsiteX2" fmla="*/ 95250 w 666750"/>
                <a:gd name="connsiteY2" fmla="*/ 206375 h 419100"/>
                <a:gd name="connsiteX3" fmla="*/ 260350 w 666750"/>
                <a:gd name="connsiteY3" fmla="*/ 123825 h 419100"/>
                <a:gd name="connsiteX4" fmla="*/ 508000 w 666750"/>
                <a:gd name="connsiteY4" fmla="*/ 73025 h 419100"/>
                <a:gd name="connsiteX5" fmla="*/ 666750 w 666750"/>
                <a:gd name="connsiteY5" fmla="*/ 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6750" h="419100">
                  <a:moveTo>
                    <a:pt x="0" y="419100"/>
                  </a:moveTo>
                  <a:cubicBezTo>
                    <a:pt x="6350" y="370152"/>
                    <a:pt x="12700" y="321204"/>
                    <a:pt x="28575" y="285750"/>
                  </a:cubicBezTo>
                  <a:cubicBezTo>
                    <a:pt x="44450" y="250296"/>
                    <a:pt x="56621" y="233362"/>
                    <a:pt x="95250" y="206375"/>
                  </a:cubicBezTo>
                  <a:cubicBezTo>
                    <a:pt x="133879" y="179388"/>
                    <a:pt x="191559" y="146050"/>
                    <a:pt x="260350" y="123825"/>
                  </a:cubicBezTo>
                  <a:cubicBezTo>
                    <a:pt x="329141" y="101600"/>
                    <a:pt x="440267" y="93662"/>
                    <a:pt x="508000" y="73025"/>
                  </a:cubicBezTo>
                  <a:cubicBezTo>
                    <a:pt x="575733" y="52388"/>
                    <a:pt x="621241" y="26194"/>
                    <a:pt x="666750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" name="TextBox 76"/>
            <p:cNvSpPr txBox="1">
              <a:spLocks noChangeArrowheads="1"/>
            </p:cNvSpPr>
            <p:nvPr/>
          </p:nvSpPr>
          <p:spPr bwMode="auto">
            <a:xfrm>
              <a:off x="5197025" y="2154338"/>
              <a:ext cx="252545" cy="153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000" b="1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TC</a:t>
              </a:r>
              <a:endParaRPr lang="zh-CN" altLang="en-US" sz="1000" b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右箭头 8"/>
            <p:cNvSpPr/>
            <p:nvPr/>
          </p:nvSpPr>
          <p:spPr bwMode="auto">
            <a:xfrm rot="20678478">
              <a:off x="5115703" y="2120650"/>
              <a:ext cx="44945" cy="34623"/>
            </a:xfrm>
            <a:prstGeom prst="rightArrow">
              <a:avLst/>
            </a:prstGeom>
            <a:solidFill>
              <a:srgbClr val="FF0000"/>
            </a:solidFill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0" name="TextBox 6"/>
            <p:cNvSpPr txBox="1">
              <a:spLocks noChangeArrowheads="1"/>
            </p:cNvSpPr>
            <p:nvPr/>
          </p:nvSpPr>
          <p:spPr bwMode="auto">
            <a:xfrm>
              <a:off x="6854947" y="1819349"/>
              <a:ext cx="536783" cy="310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 b="1" dirty="0">
                  <a:solidFill>
                    <a:srgbClr val="CC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P1</a:t>
              </a:r>
              <a:endParaRPr lang="zh-CN" altLang="en-US" sz="1800" b="1" dirty="0">
                <a:solidFill>
                  <a:srgbClr val="CC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TextBox 7"/>
            <p:cNvSpPr txBox="1">
              <a:spLocks noChangeArrowheads="1"/>
            </p:cNvSpPr>
            <p:nvPr/>
          </p:nvSpPr>
          <p:spPr bwMode="auto">
            <a:xfrm>
              <a:off x="7115939" y="3322608"/>
              <a:ext cx="507704" cy="310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 b="1" dirty="0">
                  <a:solidFill>
                    <a:srgbClr val="CC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P2</a:t>
              </a:r>
              <a:endParaRPr lang="zh-CN" altLang="en-US" sz="1800" b="1" dirty="0">
                <a:solidFill>
                  <a:srgbClr val="CC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TextBox 11"/>
            <p:cNvSpPr txBox="1">
              <a:spLocks noChangeArrowheads="1"/>
            </p:cNvSpPr>
            <p:nvPr/>
          </p:nvSpPr>
          <p:spPr bwMode="auto">
            <a:xfrm>
              <a:off x="6331287" y="1772988"/>
              <a:ext cx="430656" cy="310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 b="1">
                  <a:solidFill>
                    <a:srgbClr val="FF0000"/>
                  </a:solidFill>
                  <a:latin typeface="Arial" panose="020B0604020202020204" pitchFamily="34" charset="0"/>
                </a:rPr>
                <a:t>e+</a:t>
              </a:r>
              <a:endParaRPr lang="zh-CN" altLang="en-US" sz="1800" b="1">
                <a:solidFill>
                  <a:srgbClr val="FF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 noChangeArrowheads="1"/>
            </p:cNvSpPr>
            <p:nvPr/>
          </p:nvSpPr>
          <p:spPr bwMode="auto">
            <a:xfrm>
              <a:off x="7369791" y="1772988"/>
              <a:ext cx="326337" cy="167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 b="1">
                  <a:solidFill>
                    <a:srgbClr val="00B0F0"/>
                  </a:solidFill>
                  <a:latin typeface="Arial" panose="020B0604020202020204" pitchFamily="34" charset="0"/>
                </a:rPr>
                <a:t>e-</a:t>
              </a:r>
              <a:endParaRPr lang="zh-CN" altLang="en-US" sz="1800" b="1">
                <a:solidFill>
                  <a:srgbClr val="00B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TextBox 25"/>
            <p:cNvSpPr txBox="1">
              <a:spLocks noChangeArrowheads="1"/>
            </p:cNvSpPr>
            <p:nvPr/>
          </p:nvSpPr>
          <p:spPr bwMode="auto">
            <a:xfrm>
              <a:off x="7644320" y="2079067"/>
              <a:ext cx="977831" cy="482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1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+ e- </a:t>
              </a:r>
              <a:r>
                <a:rPr lang="en-US" altLang="zh-CN" sz="1100" b="1" dirty="0" err="1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inac</a:t>
              </a:r>
              <a:endParaRPr lang="en-US" altLang="zh-CN" sz="11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1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 (240m)</a:t>
              </a:r>
              <a:endParaRPr lang="zh-CN" altLang="en-US" sz="11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TextBox 15"/>
            <p:cNvSpPr txBox="1">
              <a:spLocks noChangeArrowheads="1"/>
            </p:cNvSpPr>
            <p:nvPr/>
          </p:nvSpPr>
          <p:spPr bwMode="auto">
            <a:xfrm>
              <a:off x="7997258" y="1702734"/>
              <a:ext cx="248913" cy="149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TB</a:t>
              </a:r>
              <a:endParaRPr lang="zh-CN" altLang="en-US" sz="9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椭圆 15"/>
            <p:cNvSpPr/>
            <p:nvPr/>
          </p:nvSpPr>
          <p:spPr bwMode="auto">
            <a:xfrm>
              <a:off x="4967386" y="1762880"/>
              <a:ext cx="3919183" cy="1526294"/>
            </a:xfrm>
            <a:prstGeom prst="ellipse">
              <a:avLst/>
            </a:prstGeom>
            <a:noFill/>
            <a:ln w="57150">
              <a:solidFill>
                <a:srgbClr val="CC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  <p:sp>
          <p:nvSpPr>
            <p:cNvPr id="17" name="右箭头 16"/>
            <p:cNvSpPr/>
            <p:nvPr/>
          </p:nvSpPr>
          <p:spPr bwMode="auto">
            <a:xfrm rot="21289895">
              <a:off x="6401124" y="1753263"/>
              <a:ext cx="106070" cy="76940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8" name="右箭头 17"/>
            <p:cNvSpPr/>
            <p:nvPr/>
          </p:nvSpPr>
          <p:spPr bwMode="auto">
            <a:xfrm rot="14382723">
              <a:off x="8155482" y="1773305"/>
              <a:ext cx="50011" cy="36854"/>
            </a:xfrm>
            <a:prstGeom prst="rightArrow">
              <a:avLst/>
            </a:prstGeom>
            <a:solidFill>
              <a:srgbClr val="00B0F0"/>
            </a:solidFill>
            <a:ln w="63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9" name="右箭头 18"/>
            <p:cNvSpPr/>
            <p:nvPr/>
          </p:nvSpPr>
          <p:spPr bwMode="auto">
            <a:xfrm rot="12476930">
              <a:off x="8794882" y="2156235"/>
              <a:ext cx="73710" cy="27891"/>
            </a:xfrm>
            <a:prstGeom prst="rightArrow">
              <a:avLst/>
            </a:prstGeom>
            <a:solidFill>
              <a:srgbClr val="00B0F0"/>
            </a:solidFill>
            <a:ln w="63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0" name="TextBox 48"/>
            <p:cNvSpPr txBox="1">
              <a:spLocks noChangeArrowheads="1"/>
            </p:cNvSpPr>
            <p:nvPr/>
          </p:nvSpPr>
          <p:spPr bwMode="auto">
            <a:xfrm rot="411638">
              <a:off x="4749319" y="3421051"/>
              <a:ext cx="3493341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>
                  <a:solidFill>
                    <a:srgbClr val="CC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PC Collider Ring(50Km)</a:t>
              </a:r>
              <a:endParaRPr lang="zh-CN" altLang="en-US" sz="2000" b="1" dirty="0">
                <a:solidFill>
                  <a:srgbClr val="CC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1" name="TextBox 50"/>
            <p:cNvSpPr txBox="1">
              <a:spLocks noChangeArrowheads="1"/>
            </p:cNvSpPr>
            <p:nvPr/>
          </p:nvSpPr>
          <p:spPr bwMode="auto">
            <a:xfrm rot="336818">
              <a:off x="5972757" y="2714655"/>
              <a:ext cx="676477" cy="167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 b="1" dirty="0">
                  <a:solidFill>
                    <a:srgbClr val="00B05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oster(50Km)</a:t>
              </a:r>
              <a:endParaRPr lang="zh-CN" altLang="en-US" sz="12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TextBox 61"/>
            <p:cNvSpPr txBox="1">
              <a:spLocks noChangeArrowheads="1"/>
            </p:cNvSpPr>
            <p:nvPr/>
          </p:nvSpPr>
          <p:spPr bwMode="auto">
            <a:xfrm>
              <a:off x="8418244" y="2104572"/>
              <a:ext cx="252545" cy="153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000" b="1" dirty="0">
                  <a:solidFill>
                    <a:srgbClr val="00B0F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TC</a:t>
              </a:r>
              <a:endParaRPr lang="zh-CN" altLang="en-US" sz="10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3" name="直接连接符 22"/>
            <p:cNvCxnSpPr/>
            <p:nvPr/>
          </p:nvCxnSpPr>
          <p:spPr bwMode="auto">
            <a:xfrm flipV="1">
              <a:off x="8083855" y="2047557"/>
              <a:ext cx="81800" cy="106754"/>
            </a:xfrm>
            <a:prstGeom prst="line">
              <a:avLst/>
            </a:prstGeom>
            <a:ln w="38100">
              <a:solidFill>
                <a:schemeClr val="accent1">
                  <a:lumMod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右箭头 23"/>
            <p:cNvSpPr/>
            <p:nvPr/>
          </p:nvSpPr>
          <p:spPr bwMode="auto">
            <a:xfrm rot="11153906">
              <a:off x="7397099" y="1752301"/>
              <a:ext cx="106070" cy="76940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5" name="椭圆 24"/>
            <p:cNvSpPr/>
            <p:nvPr/>
          </p:nvSpPr>
          <p:spPr bwMode="auto">
            <a:xfrm>
              <a:off x="6914393" y="1724410"/>
              <a:ext cx="79103" cy="85596"/>
            </a:xfrm>
            <a:prstGeom prst="ellipse">
              <a:avLst/>
            </a:prstGeom>
            <a:solidFill>
              <a:srgbClr val="CC00FF"/>
            </a:solidFill>
            <a:ln>
              <a:solidFill>
                <a:srgbClr val="CC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6" name="椭圆 25"/>
            <p:cNvSpPr/>
            <p:nvPr/>
          </p:nvSpPr>
          <p:spPr bwMode="auto">
            <a:xfrm>
              <a:off x="6919787" y="3232431"/>
              <a:ext cx="79103" cy="84634"/>
            </a:xfrm>
            <a:prstGeom prst="ellipse">
              <a:avLst/>
            </a:prstGeom>
            <a:solidFill>
              <a:srgbClr val="CC00FF"/>
            </a:solidFill>
            <a:ln>
              <a:solidFill>
                <a:srgbClr val="CC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7" name="任意多边形 26"/>
            <p:cNvSpPr/>
            <p:nvPr/>
          </p:nvSpPr>
          <p:spPr bwMode="auto">
            <a:xfrm>
              <a:off x="8165655" y="1885984"/>
              <a:ext cx="453942" cy="158688"/>
            </a:xfrm>
            <a:custGeom>
              <a:avLst/>
              <a:gdLst>
                <a:gd name="connsiteX0" fmla="*/ 0 w 802481"/>
                <a:gd name="connsiteY0" fmla="*/ 263004 h 263004"/>
                <a:gd name="connsiteX1" fmla="*/ 42862 w 802481"/>
                <a:gd name="connsiteY1" fmla="*/ 212998 h 263004"/>
                <a:gd name="connsiteX2" fmla="*/ 80962 w 802481"/>
                <a:gd name="connsiteY2" fmla="*/ 167754 h 263004"/>
                <a:gd name="connsiteX3" fmla="*/ 147637 w 802481"/>
                <a:gd name="connsiteY3" fmla="*/ 117748 h 263004"/>
                <a:gd name="connsiteX4" fmla="*/ 240506 w 802481"/>
                <a:gd name="connsiteY4" fmla="*/ 65360 h 263004"/>
                <a:gd name="connsiteX5" fmla="*/ 357187 w 802481"/>
                <a:gd name="connsiteY5" fmla="*/ 32023 h 263004"/>
                <a:gd name="connsiteX6" fmla="*/ 514350 w 802481"/>
                <a:gd name="connsiteY6" fmla="*/ 1067 h 263004"/>
                <a:gd name="connsiteX7" fmla="*/ 619125 w 802481"/>
                <a:gd name="connsiteY7" fmla="*/ 10592 h 263004"/>
                <a:gd name="connsiteX8" fmla="*/ 771525 w 802481"/>
                <a:gd name="connsiteY8" fmla="*/ 43929 h 263004"/>
                <a:gd name="connsiteX9" fmla="*/ 802481 w 802481"/>
                <a:gd name="connsiteY9" fmla="*/ 60598 h 263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2481" h="263004">
                  <a:moveTo>
                    <a:pt x="0" y="263004"/>
                  </a:moveTo>
                  <a:lnTo>
                    <a:pt x="42862" y="212998"/>
                  </a:lnTo>
                  <a:cubicBezTo>
                    <a:pt x="56356" y="197123"/>
                    <a:pt x="63500" y="183629"/>
                    <a:pt x="80962" y="167754"/>
                  </a:cubicBezTo>
                  <a:cubicBezTo>
                    <a:pt x="98424" y="151879"/>
                    <a:pt x="121046" y="134814"/>
                    <a:pt x="147637" y="117748"/>
                  </a:cubicBezTo>
                  <a:cubicBezTo>
                    <a:pt x="174228" y="100682"/>
                    <a:pt x="205581" y="79647"/>
                    <a:pt x="240506" y="65360"/>
                  </a:cubicBezTo>
                  <a:cubicBezTo>
                    <a:pt x="275431" y="51072"/>
                    <a:pt x="311546" y="42738"/>
                    <a:pt x="357187" y="32023"/>
                  </a:cubicBezTo>
                  <a:cubicBezTo>
                    <a:pt x="402828" y="21308"/>
                    <a:pt x="470694" y="4639"/>
                    <a:pt x="514350" y="1067"/>
                  </a:cubicBezTo>
                  <a:cubicBezTo>
                    <a:pt x="558006" y="-2505"/>
                    <a:pt x="576262" y="3448"/>
                    <a:pt x="619125" y="10592"/>
                  </a:cubicBezTo>
                  <a:cubicBezTo>
                    <a:pt x="661988" y="17736"/>
                    <a:pt x="740966" y="35595"/>
                    <a:pt x="771525" y="43929"/>
                  </a:cubicBezTo>
                  <a:cubicBezTo>
                    <a:pt x="802084" y="52263"/>
                    <a:pt x="802282" y="56430"/>
                    <a:pt x="802481" y="60598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8" name="任意多边形 27"/>
            <p:cNvSpPr/>
            <p:nvPr/>
          </p:nvSpPr>
          <p:spPr bwMode="auto">
            <a:xfrm>
              <a:off x="8033517" y="1680170"/>
              <a:ext cx="177082" cy="367388"/>
            </a:xfrm>
            <a:custGeom>
              <a:avLst/>
              <a:gdLst>
                <a:gd name="connsiteX0" fmla="*/ 233363 w 312916"/>
                <a:gd name="connsiteY0" fmla="*/ 607219 h 607219"/>
                <a:gd name="connsiteX1" fmla="*/ 280988 w 312916"/>
                <a:gd name="connsiteY1" fmla="*/ 507206 h 607219"/>
                <a:gd name="connsiteX2" fmla="*/ 311944 w 312916"/>
                <a:gd name="connsiteY2" fmla="*/ 400050 h 607219"/>
                <a:gd name="connsiteX3" fmla="*/ 300038 w 312916"/>
                <a:gd name="connsiteY3" fmla="*/ 276225 h 607219"/>
                <a:gd name="connsiteX4" fmla="*/ 250032 w 312916"/>
                <a:gd name="connsiteY4" fmla="*/ 171450 h 607219"/>
                <a:gd name="connsiteX5" fmla="*/ 192882 w 312916"/>
                <a:gd name="connsiteY5" fmla="*/ 111919 h 607219"/>
                <a:gd name="connsiteX6" fmla="*/ 114300 w 312916"/>
                <a:gd name="connsiteY6" fmla="*/ 54769 h 607219"/>
                <a:gd name="connsiteX7" fmla="*/ 0 w 312916"/>
                <a:gd name="connsiteY7" fmla="*/ 0 h 607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916" h="607219">
                  <a:moveTo>
                    <a:pt x="233363" y="607219"/>
                  </a:moveTo>
                  <a:cubicBezTo>
                    <a:pt x="250627" y="574476"/>
                    <a:pt x="267891" y="541734"/>
                    <a:pt x="280988" y="507206"/>
                  </a:cubicBezTo>
                  <a:cubicBezTo>
                    <a:pt x="294085" y="472678"/>
                    <a:pt x="308769" y="438547"/>
                    <a:pt x="311944" y="400050"/>
                  </a:cubicBezTo>
                  <a:cubicBezTo>
                    <a:pt x="315119" y="361553"/>
                    <a:pt x="310357" y="314325"/>
                    <a:pt x="300038" y="276225"/>
                  </a:cubicBezTo>
                  <a:cubicBezTo>
                    <a:pt x="289719" y="238125"/>
                    <a:pt x="267891" y="198834"/>
                    <a:pt x="250032" y="171450"/>
                  </a:cubicBezTo>
                  <a:cubicBezTo>
                    <a:pt x="232173" y="144066"/>
                    <a:pt x="215504" y="131366"/>
                    <a:pt x="192882" y="111919"/>
                  </a:cubicBezTo>
                  <a:cubicBezTo>
                    <a:pt x="170260" y="92472"/>
                    <a:pt x="146447" y="73422"/>
                    <a:pt x="114300" y="54769"/>
                  </a:cubicBezTo>
                  <a:cubicBezTo>
                    <a:pt x="82153" y="36116"/>
                    <a:pt x="41076" y="18058"/>
                    <a:pt x="0" y="0"/>
                  </a:cubicBezTo>
                </a:path>
              </a:pathLst>
            </a:cu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9" name="右箭头 28"/>
            <p:cNvSpPr/>
            <p:nvPr/>
          </p:nvSpPr>
          <p:spPr bwMode="auto">
            <a:xfrm rot="21079377">
              <a:off x="8394873" y="1874443"/>
              <a:ext cx="46742" cy="38470"/>
            </a:xfrm>
            <a:prstGeom prst="rightArrow">
              <a:avLst/>
            </a:prstGeom>
            <a:solidFill>
              <a:srgbClr val="FF0000"/>
            </a:solidFill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" name="椭圆 29"/>
            <p:cNvSpPr/>
            <p:nvPr/>
          </p:nvSpPr>
          <p:spPr bwMode="auto">
            <a:xfrm>
              <a:off x="4983566" y="1544563"/>
              <a:ext cx="3919183" cy="1530141"/>
            </a:xfrm>
            <a:prstGeom prst="ellipse">
              <a:avLst/>
            </a:prstGeom>
            <a:noFill/>
            <a:ln w="571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CEPC</a:t>
            </a:r>
            <a:r>
              <a:rPr lang="zh-CN" altLang="en-US" dirty="0"/>
              <a:t>：环形正负电子对撞机</a:t>
            </a:r>
            <a:endParaRPr lang="en-US" altLang="zh-CN" dirty="0"/>
          </a:p>
          <a:p>
            <a:pPr lvl="1"/>
            <a:r>
              <a:rPr lang="zh-CN" altLang="en-US" dirty="0"/>
              <a:t>周长</a:t>
            </a:r>
            <a:r>
              <a:rPr lang="en-US" altLang="zh-CN" dirty="0"/>
              <a:t>50~70km</a:t>
            </a:r>
          </a:p>
          <a:p>
            <a:pPr lvl="1"/>
            <a:r>
              <a:rPr lang="zh-CN" altLang="en-US" dirty="0"/>
              <a:t>质心能量</a:t>
            </a:r>
            <a:r>
              <a:rPr lang="en-US" altLang="zh-CN" dirty="0"/>
              <a:t>240GeV</a:t>
            </a:r>
          </a:p>
          <a:p>
            <a:pPr lvl="1"/>
            <a:r>
              <a:rPr lang="en-US" altLang="zh-CN" dirty="0"/>
              <a:t>Higgs</a:t>
            </a:r>
            <a:r>
              <a:rPr lang="zh-CN" altLang="en-US" dirty="0" smtClean="0"/>
              <a:t>工厂</a:t>
            </a: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559587" y="6016807"/>
            <a:ext cx="984019" cy="365125"/>
          </a:xfrm>
        </p:spPr>
        <p:txBody>
          <a:bodyPr/>
          <a:lstStyle/>
          <a:p>
            <a:fld id="{6113E31D-E2AB-40D1-8B51-AFA5AFEF393A}" type="slidenum">
              <a:rPr lang="en-US" smtClean="0"/>
              <a:t>4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314205" y="3438884"/>
            <a:ext cx="3996518" cy="2886551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4953720" y="2996918"/>
            <a:ext cx="4190280" cy="3328517"/>
            <a:chOff x="63820" y="3374348"/>
            <a:chExt cx="4190280" cy="3328517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0" y="3374348"/>
              <a:ext cx="4190280" cy="3328517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72546" y="5589280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ECAL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63820" y="4609335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H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CAL</a:t>
              </a:r>
            </a:p>
          </p:txBody>
        </p:sp>
        <p:sp>
          <p:nvSpPr>
            <p:cNvPr id="10" name="矩形 9"/>
            <p:cNvSpPr/>
            <p:nvPr/>
          </p:nvSpPr>
          <p:spPr>
            <a:xfrm>
              <a:off x="63820" y="6090169"/>
              <a:ext cx="10430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Tracker</a:t>
              </a:r>
            </a:p>
          </p:txBody>
        </p:sp>
      </p:grpSp>
      <p:sp>
        <p:nvSpPr>
          <p:cNvPr id="11" name="矩形 10"/>
          <p:cNvSpPr/>
          <p:nvPr/>
        </p:nvSpPr>
        <p:spPr>
          <a:xfrm>
            <a:off x="4976669" y="3110103"/>
            <a:ext cx="1020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Muon Tracker</a:t>
            </a:r>
          </a:p>
        </p:txBody>
      </p:sp>
      <p:sp>
        <p:nvSpPr>
          <p:cNvPr id="12" name="矩形 11"/>
          <p:cNvSpPr/>
          <p:nvPr/>
        </p:nvSpPr>
        <p:spPr>
          <a:xfrm>
            <a:off x="4976669" y="4231905"/>
            <a:ext cx="566702" cy="369332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8011671" y="5897405"/>
            <a:ext cx="7189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jet</a:t>
            </a:r>
          </a:p>
        </p:txBody>
      </p:sp>
      <p:cxnSp>
        <p:nvCxnSpPr>
          <p:cNvPr id="14" name="直接箭头连接符 13"/>
          <p:cNvCxnSpPr/>
          <p:nvPr/>
        </p:nvCxnSpPr>
        <p:spPr>
          <a:xfrm flipH="1">
            <a:off x="7210881" y="6082071"/>
            <a:ext cx="840715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6512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和半数字读出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6193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/>
              <a:t>粒子</a:t>
            </a:r>
            <a:r>
              <a:rPr lang="zh-CN" altLang="en-US" dirty="0" smtClean="0"/>
              <a:t>流算法和半数字化读出</a:t>
            </a:r>
            <a:endParaRPr lang="en-US" altLang="zh-CN" dirty="0" smtClean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3109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(</a:t>
            </a:r>
            <a:r>
              <a:rPr lang="zh-CN" altLang="en-US" dirty="0" smtClean="0"/>
              <a:t>待定</a:t>
            </a:r>
            <a:r>
              <a:rPr lang="en-US" altLang="zh-CN" dirty="0" smtClean="0"/>
              <a:t>)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zh-CN" altLang="en-US" dirty="0"/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3940" y="1880766"/>
            <a:ext cx="1704941" cy="227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441" y="4165786"/>
            <a:ext cx="2857682" cy="219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6215694" y="2155057"/>
            <a:ext cx="2427287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  <a:cs typeface="Times New Roman" panose="02020603050405020304" pitchFamily="18" charset="0"/>
              </a:rPr>
              <a:t>典型的几何结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Cu:            t = 5µm </a:t>
            </a:r>
          </a:p>
          <a:p>
            <a:pPr>
              <a:defRPr/>
            </a:pPr>
            <a:r>
              <a:rPr lang="en-US" altLang="zh-CN" sz="1600" b="1" dirty="0" err="1" smtClean="0">
                <a:solidFill>
                  <a:srgbClr val="233DFF"/>
                </a:solidFill>
                <a:latin typeface="+mn-lt"/>
              </a:rPr>
              <a:t>Kapton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    T = 5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         d = 60µm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                 D = 8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间距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     P = 140µm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441" y="1868948"/>
            <a:ext cx="2924140" cy="221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0506" y="4315141"/>
            <a:ext cx="2736165" cy="207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圆柱形孔电场线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054" y="3848303"/>
            <a:ext cx="2450129" cy="300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399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smtClean="0"/>
              <a:t>结构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读出板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0cm*30cm</a:t>
            </a:r>
          </a:p>
          <a:p>
            <a:pPr lvl="1"/>
            <a:r>
              <a:rPr lang="zh-CN" altLang="en-US" dirty="0" smtClean="0"/>
              <a:t>读出单元</a:t>
            </a:r>
            <a:r>
              <a:rPr lang="en-US" altLang="zh-CN" dirty="0" smtClean="0"/>
              <a:t>1cm*1cm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0" r="12327" b="2114"/>
          <a:stretch/>
        </p:blipFill>
        <p:spPr>
          <a:xfrm rot="10800000">
            <a:off x="5355878" y="3262868"/>
            <a:ext cx="3788122" cy="360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245" y="1722092"/>
            <a:ext cx="3017985" cy="1859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9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自张紧工艺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775143" y="2297176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 </a:t>
            </a:r>
            <a:r>
              <a:rPr lang="en-US" altLang="zh-CN" b="1" dirty="0" smtClean="0">
                <a:solidFill>
                  <a:srgbClr val="FFFF00"/>
                </a:solidFill>
              </a:rPr>
              <a:t>detector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168" y="4118518"/>
            <a:ext cx="1235636" cy="1779497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400" y="4375374"/>
            <a:ext cx="1313721" cy="896453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 detector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7047785" y="5410148"/>
            <a:ext cx="1904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Inner frame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3953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27</TotalTime>
  <Words>1201</Words>
  <Application>Microsoft Office PowerPoint</Application>
  <PresentationFormat>全屏显示(4:3)</PresentationFormat>
  <Paragraphs>478</Paragraphs>
  <Slides>28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8</vt:i4>
      </vt:variant>
    </vt:vector>
  </HeadingPairs>
  <TitlesOfParts>
    <vt:vector size="41" baseType="lpstr">
      <vt:lpstr>黑体</vt:lpstr>
      <vt:lpstr>楷体</vt:lpstr>
      <vt:lpstr>宋体</vt:lpstr>
      <vt:lpstr>微软雅黑</vt:lpstr>
      <vt:lpstr>Arial</vt:lpstr>
      <vt:lpstr>Calibri</vt:lpstr>
      <vt:lpstr>Calibri Light</vt:lpstr>
      <vt:lpstr>Cambria Math</vt:lpstr>
      <vt:lpstr>Times New Roman</vt:lpstr>
      <vt:lpstr>Wingdings</vt:lpstr>
      <vt:lpstr>Office 主题</vt:lpstr>
      <vt:lpstr>自定义设计方案</vt:lpstr>
      <vt:lpstr>think-cell Slide</vt:lpstr>
      <vt:lpstr>PowerPoint 演示文稿</vt:lpstr>
      <vt:lpstr>目录</vt:lpstr>
      <vt:lpstr>背景</vt:lpstr>
      <vt:lpstr>CEPC介绍</vt:lpstr>
      <vt:lpstr>粒子流算法和半数字读出</vt:lpstr>
      <vt:lpstr>目录</vt:lpstr>
      <vt:lpstr>GEM探测器</vt:lpstr>
      <vt:lpstr>GEM探测器</vt:lpstr>
      <vt:lpstr>GEM探测器</vt:lpstr>
      <vt:lpstr>目录</vt:lpstr>
      <vt:lpstr>Microroc芯片</vt:lpstr>
      <vt:lpstr>Microroc芯片</vt:lpstr>
      <vt:lpstr>设计方案</vt:lpstr>
      <vt:lpstr>设计方案</vt:lpstr>
      <vt:lpstr>目录</vt:lpstr>
      <vt:lpstr>电子学测试</vt:lpstr>
      <vt:lpstr>电子学测试</vt:lpstr>
      <vt:lpstr>电子学测试</vt:lpstr>
      <vt:lpstr>电子学测试</vt:lpstr>
      <vt:lpstr>电子学测试</vt:lpstr>
      <vt:lpstr>探测器联调</vt:lpstr>
      <vt:lpstr>探测器联调</vt:lpstr>
      <vt:lpstr>增益均匀性测量</vt:lpstr>
      <vt:lpstr>串扰和效率测量</vt:lpstr>
      <vt:lpstr>目录</vt:lpstr>
      <vt:lpstr>50cm*100cm探测器设计</vt:lpstr>
      <vt:lpstr>探测器与电子学集成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Wang Yu</cp:lastModifiedBy>
  <cp:revision>4</cp:revision>
  <dcterms:created xsi:type="dcterms:W3CDTF">2017-11-03T08:04:33Z</dcterms:created>
  <dcterms:modified xsi:type="dcterms:W3CDTF">2017-11-03T08:32:05Z</dcterms:modified>
</cp:coreProperties>
</file>